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4"/>
  </p:notesMasterIdLst>
  <p:handoutMasterIdLst>
    <p:handoutMasterId r:id="rId15"/>
  </p:handoutMasterIdLst>
  <p:sldIdLst>
    <p:sldId id="546" r:id="rId7"/>
    <p:sldId id="2141411554" r:id="rId8"/>
    <p:sldId id="2141411564" r:id="rId9"/>
    <p:sldId id="2141411565" r:id="rId10"/>
    <p:sldId id="2141411566" r:id="rId11"/>
    <p:sldId id="2141411563" r:id="rId12"/>
    <p:sldId id="2141411444" r:id="rId13"/>
  </p:sldIdLst>
  <p:sldSz cx="12192000" cy="6858000"/>
  <p:notesSz cx="6670675" cy="9777413"/>
  <p:custDataLst>
    <p:tags r:id="rId16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36CECE-4144-4706-80E5-F0639FAB9BEA}" v="22" dt="2023-06-01T20:24:04.797"/>
    <p1510:client id="{C0B8B98D-D73E-4793-8C05-377D40232342}" v="28" dt="2023-06-01T19:29:53.43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90" y="96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son, Kevin" userId="e60c6aad-8614-4884-8dc2-e8f78e5022b5" providerId="ADAL" clId="{CE0AAE48-8C34-4A60-9062-4735A12C06A4}"/>
    <pc:docChg chg="custSel modSld">
      <pc:chgData name="Hanson, Kevin" userId="e60c6aad-8614-4884-8dc2-e8f78e5022b5" providerId="ADAL" clId="{CE0AAE48-8C34-4A60-9062-4735A12C06A4}" dt="2023-03-01T20:32:18.336" v="880" actId="20577"/>
      <pc:docMkLst>
        <pc:docMk/>
      </pc:docMkLst>
      <pc:sldChg chg="addSp modSp mod">
        <pc:chgData name="Hanson, Kevin" userId="e60c6aad-8614-4884-8dc2-e8f78e5022b5" providerId="ADAL" clId="{CE0AAE48-8C34-4A60-9062-4735A12C06A4}" dt="2023-03-01T20:32:18.336" v="880" actId="20577"/>
        <pc:sldMkLst>
          <pc:docMk/>
          <pc:sldMk cId="1687315581" sldId="257"/>
        </pc:sldMkLst>
        <pc:spChg chg="mod">
          <ac:chgData name="Hanson, Kevin" userId="e60c6aad-8614-4884-8dc2-e8f78e5022b5" providerId="ADAL" clId="{CE0AAE48-8C34-4A60-9062-4735A12C06A4}" dt="2023-03-01T20:32:18.336" v="880" actId="20577"/>
          <ac:spMkLst>
            <pc:docMk/>
            <pc:sldMk cId="1687315581" sldId="257"/>
            <ac:spMk id="3" creationId="{A4F8B35C-CF2D-43D2-A9D4-724CC15952E3}"/>
          </ac:spMkLst>
        </pc:spChg>
        <pc:spChg chg="add mod">
          <ac:chgData name="Hanson, Kevin" userId="e60c6aad-8614-4884-8dc2-e8f78e5022b5" providerId="ADAL" clId="{CE0AAE48-8C34-4A60-9062-4735A12C06A4}" dt="2023-02-26T18:13:31.506" v="488" actId="255"/>
          <ac:spMkLst>
            <pc:docMk/>
            <pc:sldMk cId="1687315581" sldId="257"/>
            <ac:spMk id="4" creationId="{7B312017-1AFD-4024-9BCA-7C3345CBD26A}"/>
          </ac:spMkLst>
        </pc:spChg>
      </pc:sldChg>
      <pc:sldChg chg="addSp delSp modSp mod">
        <pc:chgData name="Hanson, Kevin" userId="e60c6aad-8614-4884-8dc2-e8f78e5022b5" providerId="ADAL" clId="{CE0AAE48-8C34-4A60-9062-4735A12C06A4}" dt="2023-02-26T19:48:25.154" v="517" actId="14100"/>
        <pc:sldMkLst>
          <pc:docMk/>
          <pc:sldMk cId="3081388721" sldId="2141411555"/>
        </pc:sldMkLst>
        <pc:picChg chg="del">
          <ac:chgData name="Hanson, Kevin" userId="e60c6aad-8614-4884-8dc2-e8f78e5022b5" providerId="ADAL" clId="{CE0AAE48-8C34-4A60-9062-4735A12C06A4}" dt="2023-02-26T19:47:52.610" v="511" actId="478"/>
          <ac:picMkLst>
            <pc:docMk/>
            <pc:sldMk cId="3081388721" sldId="2141411555"/>
            <ac:picMk id="6" creationId="{9D7E4C45-D5FB-48EB-AEB8-84CCF69CAD2C}"/>
          </ac:picMkLst>
        </pc:picChg>
        <pc:picChg chg="add mod">
          <ac:chgData name="Hanson, Kevin" userId="e60c6aad-8614-4884-8dc2-e8f78e5022b5" providerId="ADAL" clId="{CE0AAE48-8C34-4A60-9062-4735A12C06A4}" dt="2023-02-26T19:48:25.154" v="517" actId="14100"/>
          <ac:picMkLst>
            <pc:docMk/>
            <pc:sldMk cId="3081388721" sldId="2141411555"/>
            <ac:picMk id="7" creationId="{DFA411A8-F77B-40CC-B571-8C39662A5751}"/>
          </ac:picMkLst>
        </pc:picChg>
      </pc:sldChg>
      <pc:sldChg chg="addSp modSp mod">
        <pc:chgData name="Hanson, Kevin" userId="e60c6aad-8614-4884-8dc2-e8f78e5022b5" providerId="ADAL" clId="{CE0AAE48-8C34-4A60-9062-4735A12C06A4}" dt="2023-02-26T20:04:37.642" v="851" actId="6549"/>
        <pc:sldMkLst>
          <pc:docMk/>
          <pc:sldMk cId="141715169" sldId="2141411558"/>
        </pc:sldMkLst>
        <pc:spChg chg="add mod">
          <ac:chgData name="Hanson, Kevin" userId="e60c6aad-8614-4884-8dc2-e8f78e5022b5" providerId="ADAL" clId="{CE0AAE48-8C34-4A60-9062-4735A12C06A4}" dt="2023-02-26T20:04:08.302" v="832" actId="948"/>
          <ac:spMkLst>
            <pc:docMk/>
            <pc:sldMk cId="141715169" sldId="2141411558"/>
            <ac:spMk id="7" creationId="{E6E1359C-2A96-4EB3-A29A-39674BF0B9BA}"/>
          </ac:spMkLst>
        </pc:spChg>
        <pc:spChg chg="mod">
          <ac:chgData name="Hanson, Kevin" userId="e60c6aad-8614-4884-8dc2-e8f78e5022b5" providerId="ADAL" clId="{CE0AAE48-8C34-4A60-9062-4735A12C06A4}" dt="2023-02-26T20:04:37.642" v="851" actId="6549"/>
          <ac:spMkLst>
            <pc:docMk/>
            <pc:sldMk cId="141715169" sldId="2141411558"/>
            <ac:spMk id="10" creationId="{AFEF0F8A-EFBD-462D-8B4E-F023D228F6F0}"/>
          </ac:spMkLst>
        </pc:spChg>
      </pc:sldChg>
      <pc:sldChg chg="modSp mod">
        <pc:chgData name="Hanson, Kevin" userId="e60c6aad-8614-4884-8dc2-e8f78e5022b5" providerId="ADAL" clId="{CE0AAE48-8C34-4A60-9062-4735A12C06A4}" dt="2023-02-26T20:23:00.048" v="864" actId="20577"/>
        <pc:sldMkLst>
          <pc:docMk/>
          <pc:sldMk cId="3058621513" sldId="2141411574"/>
        </pc:sldMkLst>
        <pc:spChg chg="mod">
          <ac:chgData name="Hanson, Kevin" userId="e60c6aad-8614-4884-8dc2-e8f78e5022b5" providerId="ADAL" clId="{CE0AAE48-8C34-4A60-9062-4735A12C06A4}" dt="2023-02-26T20:23:00.048" v="864" actId="20577"/>
          <ac:spMkLst>
            <pc:docMk/>
            <pc:sldMk cId="3058621513" sldId="2141411574"/>
            <ac:spMk id="2" creationId="{1F7E61D6-0DF9-41B7-B5C6-67885B8912E3}"/>
          </ac:spMkLst>
        </pc:spChg>
      </pc:sldChg>
    </pc:docChg>
  </pc:docChgLst>
  <pc:docChgLst>
    <pc:chgData name="Hanson, Kevin" userId="e60c6aad-8614-4884-8dc2-e8f78e5022b5" providerId="ADAL" clId="{903BCA11-1197-47C9-BB4C-9F4F3702DC73}"/>
    <pc:docChg chg="undo custSel addSld delSld modSld">
      <pc:chgData name="Hanson, Kevin" userId="e60c6aad-8614-4884-8dc2-e8f78e5022b5" providerId="ADAL" clId="{903BCA11-1197-47C9-BB4C-9F4F3702DC73}" dt="2023-03-29T17:22:35.166" v="1412" actId="1076"/>
      <pc:docMkLst>
        <pc:docMk/>
      </pc:docMkLst>
      <pc:sldChg chg="del">
        <pc:chgData name="Hanson, Kevin" userId="e60c6aad-8614-4884-8dc2-e8f78e5022b5" providerId="ADAL" clId="{903BCA11-1197-47C9-BB4C-9F4F3702DC73}" dt="2023-03-28T20:38:47.565" v="69" actId="47"/>
        <pc:sldMkLst>
          <pc:docMk/>
          <pc:sldMk cId="1687315581" sldId="257"/>
        </pc:sldMkLst>
      </pc:sldChg>
      <pc:sldChg chg="delSp modSp mod">
        <pc:chgData name="Hanson, Kevin" userId="e60c6aad-8614-4884-8dc2-e8f78e5022b5" providerId="ADAL" clId="{903BCA11-1197-47C9-BB4C-9F4F3702DC73}" dt="2023-03-29T17:17:54.495" v="1335" actId="1076"/>
        <pc:sldMkLst>
          <pc:docMk/>
          <pc:sldMk cId="136374311" sldId="546"/>
        </pc:sldMkLst>
        <pc:spChg chg="mod">
          <ac:chgData name="Hanson, Kevin" userId="e60c6aad-8614-4884-8dc2-e8f78e5022b5" providerId="ADAL" clId="{903BCA11-1197-47C9-BB4C-9F4F3702DC73}" dt="2023-03-29T17:17:31.242" v="1319" actId="20577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Hanson, Kevin" userId="e60c6aad-8614-4884-8dc2-e8f78e5022b5" providerId="ADAL" clId="{903BCA11-1197-47C9-BB4C-9F4F3702DC73}" dt="2023-03-29T17:17:54.495" v="1335" actId="1076"/>
          <ac:spMkLst>
            <pc:docMk/>
            <pc:sldMk cId="136374311" sldId="546"/>
            <ac:spMk id="3" creationId="{00000000-0000-0000-0000-000000000000}"/>
          </ac:spMkLst>
        </pc:spChg>
        <pc:spChg chg="del">
          <ac:chgData name="Hanson, Kevin" userId="e60c6aad-8614-4884-8dc2-e8f78e5022b5" providerId="ADAL" clId="{903BCA11-1197-47C9-BB4C-9F4F3702DC73}" dt="2023-03-28T20:38:08.198" v="0" actId="478"/>
          <ac:spMkLst>
            <pc:docMk/>
            <pc:sldMk cId="136374311" sldId="546"/>
            <ac:spMk id="6" creationId="{2DD7D3F1-E005-410B-A0F7-9277B3C3501B}"/>
          </ac:spMkLst>
        </pc:spChg>
      </pc:sldChg>
      <pc:sldChg chg="delSp modSp mod">
        <pc:chgData name="Hanson, Kevin" userId="e60c6aad-8614-4884-8dc2-e8f78e5022b5" providerId="ADAL" clId="{903BCA11-1197-47C9-BB4C-9F4F3702DC73}" dt="2023-03-28T20:49:04.320" v="290" actId="20577"/>
        <pc:sldMkLst>
          <pc:docMk/>
          <pc:sldMk cId="3173487482" sldId="2141411554"/>
        </pc:sldMkLst>
        <pc:spChg chg="del">
          <ac:chgData name="Hanson, Kevin" userId="e60c6aad-8614-4884-8dc2-e8f78e5022b5" providerId="ADAL" clId="{903BCA11-1197-47C9-BB4C-9F4F3702DC73}" dt="2023-03-28T20:43:45.970" v="143" actId="478"/>
          <ac:spMkLst>
            <pc:docMk/>
            <pc:sldMk cId="3173487482" sldId="2141411554"/>
            <ac:spMk id="2" creationId="{E564452B-7F40-4751-8148-E435F1B1D415}"/>
          </ac:spMkLst>
        </pc:spChg>
        <pc:spChg chg="mod">
          <ac:chgData name="Hanson, Kevin" userId="e60c6aad-8614-4884-8dc2-e8f78e5022b5" providerId="ADAL" clId="{903BCA11-1197-47C9-BB4C-9F4F3702DC73}" dt="2023-03-28T20:49:04.320" v="290" actId="20577"/>
          <ac:spMkLst>
            <pc:docMk/>
            <pc:sldMk cId="3173487482" sldId="2141411554"/>
            <ac:spMk id="3" creationId="{E1F3F72A-850B-4B6D-BB79-4D65474A0470}"/>
          </ac:spMkLst>
        </pc:spChg>
      </pc:sldChg>
      <pc:sldChg chg="del">
        <pc:chgData name="Hanson, Kevin" userId="e60c6aad-8614-4884-8dc2-e8f78e5022b5" providerId="ADAL" clId="{903BCA11-1197-47C9-BB4C-9F4F3702DC73}" dt="2023-03-28T20:38:37.848" v="48" actId="47"/>
        <pc:sldMkLst>
          <pc:docMk/>
          <pc:sldMk cId="3081388721" sldId="2141411555"/>
        </pc:sldMkLst>
      </pc:sldChg>
      <pc:sldChg chg="addSp delSp modSp new mod">
        <pc:chgData name="Hanson, Kevin" userId="e60c6aad-8614-4884-8dc2-e8f78e5022b5" providerId="ADAL" clId="{903BCA11-1197-47C9-BB4C-9F4F3702DC73}" dt="2023-03-28T21:03:25.457" v="363" actId="20577"/>
        <pc:sldMkLst>
          <pc:docMk/>
          <pc:sldMk cId="3914903359" sldId="2141411555"/>
        </pc:sldMkLst>
        <pc:spChg chg="del">
          <ac:chgData name="Hanson, Kevin" userId="e60c6aad-8614-4884-8dc2-e8f78e5022b5" providerId="ADAL" clId="{903BCA11-1197-47C9-BB4C-9F4F3702DC73}" dt="2023-03-28T20:49:15.184" v="292" actId="478"/>
          <ac:spMkLst>
            <pc:docMk/>
            <pc:sldMk cId="3914903359" sldId="2141411555"/>
            <ac:spMk id="2" creationId="{240F4701-92CF-4711-AAF7-BF2205DDCB85}"/>
          </ac:spMkLst>
        </pc:spChg>
        <pc:spChg chg="mod">
          <ac:chgData name="Hanson, Kevin" userId="e60c6aad-8614-4884-8dc2-e8f78e5022b5" providerId="ADAL" clId="{903BCA11-1197-47C9-BB4C-9F4F3702DC73}" dt="2023-03-28T21:03:25.457" v="363" actId="20577"/>
          <ac:spMkLst>
            <pc:docMk/>
            <pc:sldMk cId="3914903359" sldId="2141411555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0:50:06.310" v="293"/>
          <ac:spMkLst>
            <pc:docMk/>
            <pc:sldMk cId="3914903359" sldId="2141411555"/>
            <ac:spMk id="4" creationId="{1CCD6C1B-3C18-4BBD-9056-72F40A1C644D}"/>
          </ac:spMkLst>
        </pc:spChg>
        <pc:picChg chg="add mod">
          <ac:chgData name="Hanson, Kevin" userId="e60c6aad-8614-4884-8dc2-e8f78e5022b5" providerId="ADAL" clId="{903BCA11-1197-47C9-BB4C-9F4F3702DC73}" dt="2023-03-28T21:02:37.002" v="300" actId="1076"/>
          <ac:picMkLst>
            <pc:docMk/>
            <pc:sldMk cId="3914903359" sldId="2141411555"/>
            <ac:picMk id="6" creationId="{08209DF2-4470-4DA0-B407-1729AA869CEE}"/>
          </ac:picMkLst>
        </pc:picChg>
      </pc:sldChg>
      <pc:sldChg chg="addSp delSp modSp add mod">
        <pc:chgData name="Hanson, Kevin" userId="e60c6aad-8614-4884-8dc2-e8f78e5022b5" providerId="ADAL" clId="{903BCA11-1197-47C9-BB4C-9F4F3702DC73}" dt="2023-03-28T21:16:09.716" v="816" actId="6549"/>
        <pc:sldMkLst>
          <pc:docMk/>
          <pc:sldMk cId="1086420740" sldId="2141411556"/>
        </pc:sldMkLst>
        <pc:spChg chg="mod">
          <ac:chgData name="Hanson, Kevin" userId="e60c6aad-8614-4884-8dc2-e8f78e5022b5" providerId="ADAL" clId="{903BCA11-1197-47C9-BB4C-9F4F3702DC73}" dt="2023-03-28T21:16:09.716" v="816" actId="6549"/>
          <ac:spMkLst>
            <pc:docMk/>
            <pc:sldMk cId="1086420740" sldId="2141411556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5:41.751" v="370"/>
          <ac:spMkLst>
            <pc:docMk/>
            <pc:sldMk cId="1086420740" sldId="2141411556"/>
            <ac:spMk id="4" creationId="{1CCD6C1B-3C18-4BBD-9056-72F40A1C644D}"/>
          </ac:spMkLst>
        </pc:spChg>
        <pc:picChg chg="add mod">
          <ac:chgData name="Hanson, Kevin" userId="e60c6aad-8614-4884-8dc2-e8f78e5022b5" providerId="ADAL" clId="{903BCA11-1197-47C9-BB4C-9F4F3702DC73}" dt="2023-03-28T21:11:45.255" v="498" actId="1076"/>
          <ac:picMkLst>
            <pc:docMk/>
            <pc:sldMk cId="1086420740" sldId="2141411556"/>
            <ac:picMk id="5" creationId="{1A6CFFC7-3C5C-451C-B7EC-54612C1FB184}"/>
          </ac:picMkLst>
        </pc:picChg>
        <pc:picChg chg="del">
          <ac:chgData name="Hanson, Kevin" userId="e60c6aad-8614-4884-8dc2-e8f78e5022b5" providerId="ADAL" clId="{903BCA11-1197-47C9-BB4C-9F4F3702DC73}" dt="2023-03-28T21:05:38.249" v="369" actId="478"/>
          <ac:picMkLst>
            <pc:docMk/>
            <pc:sldMk cId="1086420740" sldId="2141411556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7.496" v="46" actId="47"/>
        <pc:sldMkLst>
          <pc:docMk/>
          <pc:sldMk cId="3401389234" sldId="2141411556"/>
        </pc:sldMkLst>
      </pc:sldChg>
      <pc:sldChg chg="del">
        <pc:chgData name="Hanson, Kevin" userId="e60c6aad-8614-4884-8dc2-e8f78e5022b5" providerId="ADAL" clId="{903BCA11-1197-47C9-BB4C-9F4F3702DC73}" dt="2023-03-28T20:38:37.294" v="45" actId="47"/>
        <pc:sldMkLst>
          <pc:docMk/>
          <pc:sldMk cId="22583931" sldId="2141411557"/>
        </pc:sldMkLst>
      </pc:sldChg>
      <pc:sldChg chg="delSp modSp add mod">
        <pc:chgData name="Hanson, Kevin" userId="e60c6aad-8614-4884-8dc2-e8f78e5022b5" providerId="ADAL" clId="{903BCA11-1197-47C9-BB4C-9F4F3702DC73}" dt="2023-03-29T17:18:17.721" v="1357" actId="20577"/>
        <pc:sldMkLst>
          <pc:docMk/>
          <pc:sldMk cId="1644287103" sldId="2141411557"/>
        </pc:sldMkLst>
        <pc:spChg chg="mod">
          <ac:chgData name="Hanson, Kevin" userId="e60c6aad-8614-4884-8dc2-e8f78e5022b5" providerId="ADAL" clId="{903BCA11-1197-47C9-BB4C-9F4F3702DC73}" dt="2023-03-29T17:18:17.721" v="1357" actId="20577"/>
          <ac:spMkLst>
            <pc:docMk/>
            <pc:sldMk cId="1644287103" sldId="2141411557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10.995" v="375"/>
          <ac:spMkLst>
            <pc:docMk/>
            <pc:sldMk cId="1644287103" sldId="2141411557"/>
            <ac:spMk id="4" creationId="{1CCD6C1B-3C18-4BBD-9056-72F40A1C644D}"/>
          </ac:spMkLst>
        </pc:spChg>
        <pc:picChg chg="del">
          <ac:chgData name="Hanson, Kevin" userId="e60c6aad-8614-4884-8dc2-e8f78e5022b5" providerId="ADAL" clId="{903BCA11-1197-47C9-BB4C-9F4F3702DC73}" dt="2023-03-28T21:05:49.992" v="371" actId="478"/>
          <ac:picMkLst>
            <pc:docMk/>
            <pc:sldMk cId="1644287103" sldId="2141411557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7.652" v="47" actId="47"/>
        <pc:sldMkLst>
          <pc:docMk/>
          <pc:sldMk cId="141715169" sldId="2141411558"/>
        </pc:sldMkLst>
      </pc:sldChg>
      <pc:sldChg chg="delSp modSp add mod">
        <pc:chgData name="Hanson, Kevin" userId="e60c6aad-8614-4884-8dc2-e8f78e5022b5" providerId="ADAL" clId="{903BCA11-1197-47C9-BB4C-9F4F3702DC73}" dt="2023-03-28T21:26:26.831" v="950" actId="1076"/>
        <pc:sldMkLst>
          <pc:docMk/>
          <pc:sldMk cId="2694325457" sldId="2141411558"/>
        </pc:sldMkLst>
        <pc:spChg chg="mod">
          <ac:chgData name="Hanson, Kevin" userId="e60c6aad-8614-4884-8dc2-e8f78e5022b5" providerId="ADAL" clId="{903BCA11-1197-47C9-BB4C-9F4F3702DC73}" dt="2023-03-28T21:26:26.831" v="950" actId="1076"/>
          <ac:spMkLst>
            <pc:docMk/>
            <pc:sldMk cId="2694325457" sldId="2141411558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20.954" v="376"/>
          <ac:spMkLst>
            <pc:docMk/>
            <pc:sldMk cId="2694325457" sldId="2141411558"/>
            <ac:spMk id="4" creationId="{1CCD6C1B-3C18-4BBD-9056-72F40A1C644D}"/>
          </ac:spMkLst>
        </pc:spChg>
        <pc:picChg chg="del">
          <ac:chgData name="Hanson, Kevin" userId="e60c6aad-8614-4884-8dc2-e8f78e5022b5" providerId="ADAL" clId="{903BCA11-1197-47C9-BB4C-9F4F3702DC73}" dt="2023-03-28T21:05:51.776" v="372" actId="478"/>
          <ac:picMkLst>
            <pc:docMk/>
            <pc:sldMk cId="2694325457" sldId="2141411558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8.427" v="50" actId="47"/>
        <pc:sldMkLst>
          <pc:docMk/>
          <pc:sldMk cId="292513581" sldId="2141411559"/>
        </pc:sldMkLst>
      </pc:sldChg>
      <pc:sldChg chg="addSp delSp modSp add mod">
        <pc:chgData name="Hanson, Kevin" userId="e60c6aad-8614-4884-8dc2-e8f78e5022b5" providerId="ADAL" clId="{903BCA11-1197-47C9-BB4C-9F4F3702DC73}" dt="2023-03-29T17:14:22.631" v="1315" actId="1076"/>
        <pc:sldMkLst>
          <pc:docMk/>
          <pc:sldMk cId="3444958256" sldId="2141411559"/>
        </pc:sldMkLst>
        <pc:spChg chg="add mod">
          <ac:chgData name="Hanson, Kevin" userId="e60c6aad-8614-4884-8dc2-e8f78e5022b5" providerId="ADAL" clId="{903BCA11-1197-47C9-BB4C-9F4F3702DC73}" dt="2023-03-29T17:14:22.631" v="1315" actId="1076"/>
          <ac:spMkLst>
            <pc:docMk/>
            <pc:sldMk cId="3444958256" sldId="2141411559"/>
            <ac:spMk id="2" creationId="{8946E13C-407F-424C-8817-905ED3AF0D6E}"/>
          </ac:spMkLst>
        </pc:spChg>
        <pc:spChg chg="del">
          <ac:chgData name="Hanson, Kevin" userId="e60c6aad-8614-4884-8dc2-e8f78e5022b5" providerId="ADAL" clId="{903BCA11-1197-47C9-BB4C-9F4F3702DC73}" dt="2023-03-29T17:11:50.708" v="1084" actId="478"/>
          <ac:spMkLst>
            <pc:docMk/>
            <pc:sldMk cId="3444958256" sldId="2141411559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39.819" v="377"/>
          <ac:spMkLst>
            <pc:docMk/>
            <pc:sldMk cId="3444958256" sldId="2141411559"/>
            <ac:spMk id="4" creationId="{1CCD6C1B-3C18-4BBD-9056-72F40A1C644D}"/>
          </ac:spMkLst>
        </pc:spChg>
        <pc:picChg chg="del">
          <ac:chgData name="Hanson, Kevin" userId="e60c6aad-8614-4884-8dc2-e8f78e5022b5" providerId="ADAL" clId="{903BCA11-1197-47C9-BB4C-9F4F3702DC73}" dt="2023-03-28T21:05:53.415" v="373" actId="478"/>
          <ac:picMkLst>
            <pc:docMk/>
            <pc:sldMk cId="3444958256" sldId="2141411559"/>
            <ac:picMk id="6" creationId="{08209DF2-4470-4DA0-B407-1729AA869CEE}"/>
          </ac:picMkLst>
        </pc:picChg>
        <pc:picChg chg="add mod">
          <ac:chgData name="Hanson, Kevin" userId="e60c6aad-8614-4884-8dc2-e8f78e5022b5" providerId="ADAL" clId="{903BCA11-1197-47C9-BB4C-9F4F3702DC73}" dt="2023-03-29T17:13:47.663" v="1266" actId="1076"/>
          <ac:picMkLst>
            <pc:docMk/>
            <pc:sldMk cId="3444958256" sldId="2141411559"/>
            <ac:picMk id="6" creationId="{CD1FD258-6D56-449D-ACAA-85009017CB23}"/>
          </ac:picMkLst>
        </pc:picChg>
      </pc:sldChg>
      <pc:sldChg chg="addSp delSp modSp add mod">
        <pc:chgData name="Hanson, Kevin" userId="e60c6aad-8614-4884-8dc2-e8f78e5022b5" providerId="ADAL" clId="{903BCA11-1197-47C9-BB4C-9F4F3702DC73}" dt="2023-03-29T17:22:35.166" v="1412" actId="1076"/>
        <pc:sldMkLst>
          <pc:docMk/>
          <pc:sldMk cId="1351952326" sldId="2141411560"/>
        </pc:sldMkLst>
        <pc:spChg chg="mod">
          <ac:chgData name="Hanson, Kevin" userId="e60c6aad-8614-4884-8dc2-e8f78e5022b5" providerId="ADAL" clId="{903BCA11-1197-47C9-BB4C-9F4F3702DC73}" dt="2023-03-29T17:22:35.166" v="1412" actId="1076"/>
          <ac:spMkLst>
            <pc:docMk/>
            <pc:sldMk cId="1351952326" sldId="2141411560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55.474" v="378"/>
          <ac:spMkLst>
            <pc:docMk/>
            <pc:sldMk cId="1351952326" sldId="2141411560"/>
            <ac:spMk id="4" creationId="{1CCD6C1B-3C18-4BBD-9056-72F40A1C644D}"/>
          </ac:spMkLst>
        </pc:spChg>
        <pc:picChg chg="add mod">
          <ac:chgData name="Hanson, Kevin" userId="e60c6aad-8614-4884-8dc2-e8f78e5022b5" providerId="ADAL" clId="{903BCA11-1197-47C9-BB4C-9F4F3702DC73}" dt="2023-03-29T17:22:31.556" v="1411" actId="1076"/>
          <ac:picMkLst>
            <pc:docMk/>
            <pc:sldMk cId="1351952326" sldId="2141411560"/>
            <ac:picMk id="5" creationId="{122E5052-E349-4F97-8BB6-12483247F989}"/>
          </ac:picMkLst>
        </pc:picChg>
        <pc:picChg chg="del">
          <ac:chgData name="Hanson, Kevin" userId="e60c6aad-8614-4884-8dc2-e8f78e5022b5" providerId="ADAL" clId="{903BCA11-1197-47C9-BB4C-9F4F3702DC73}" dt="2023-03-28T21:05:55.833" v="374" actId="478"/>
          <ac:picMkLst>
            <pc:docMk/>
            <pc:sldMk cId="1351952326" sldId="2141411560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8.794" v="51" actId="47"/>
        <pc:sldMkLst>
          <pc:docMk/>
          <pc:sldMk cId="3180769904" sldId="2141411560"/>
        </pc:sldMkLst>
      </pc:sldChg>
      <pc:sldChg chg="del">
        <pc:chgData name="Hanson, Kevin" userId="e60c6aad-8614-4884-8dc2-e8f78e5022b5" providerId="ADAL" clId="{903BCA11-1197-47C9-BB4C-9F4F3702DC73}" dt="2023-03-28T20:38:39.116" v="52" actId="47"/>
        <pc:sldMkLst>
          <pc:docMk/>
          <pc:sldMk cId="385855627" sldId="2141411561"/>
        </pc:sldMkLst>
      </pc:sldChg>
      <pc:sldChg chg="addSp modSp add mod">
        <pc:chgData name="Hanson, Kevin" userId="e60c6aad-8614-4884-8dc2-e8f78e5022b5" providerId="ADAL" clId="{903BCA11-1197-47C9-BB4C-9F4F3702DC73}" dt="2023-03-28T21:22:56.936" v="945" actId="1076"/>
        <pc:sldMkLst>
          <pc:docMk/>
          <pc:sldMk cId="678589554" sldId="2141411561"/>
        </pc:sldMkLst>
        <pc:spChg chg="mod">
          <ac:chgData name="Hanson, Kevin" userId="e60c6aad-8614-4884-8dc2-e8f78e5022b5" providerId="ADAL" clId="{903BCA11-1197-47C9-BB4C-9F4F3702DC73}" dt="2023-03-28T21:22:56.936" v="945" actId="1076"/>
          <ac:spMkLst>
            <pc:docMk/>
            <pc:sldMk cId="678589554" sldId="2141411561"/>
            <ac:spMk id="3" creationId="{9EA6F890-192F-4495-95FE-E7EA7DADA00B}"/>
          </ac:spMkLst>
        </pc:spChg>
        <pc:picChg chg="add mod">
          <ac:chgData name="Hanson, Kevin" userId="e60c6aad-8614-4884-8dc2-e8f78e5022b5" providerId="ADAL" clId="{903BCA11-1197-47C9-BB4C-9F4F3702DC73}" dt="2023-03-28T21:22:56.111" v="944" actId="1076"/>
          <ac:picMkLst>
            <pc:docMk/>
            <pc:sldMk cId="678589554" sldId="2141411561"/>
            <ac:picMk id="5" creationId="{3AA75F22-C87A-444D-ACD4-FC0854FB466B}"/>
          </ac:picMkLst>
        </pc:picChg>
      </pc:sldChg>
      <pc:sldChg chg="del">
        <pc:chgData name="Hanson, Kevin" userId="e60c6aad-8614-4884-8dc2-e8f78e5022b5" providerId="ADAL" clId="{903BCA11-1197-47C9-BB4C-9F4F3702DC73}" dt="2023-03-28T20:38:39.781" v="54" actId="47"/>
        <pc:sldMkLst>
          <pc:docMk/>
          <pc:sldMk cId="2530082049" sldId="2141411562"/>
        </pc:sldMkLst>
      </pc:sldChg>
      <pc:sldChg chg="addSp modSp add mod">
        <pc:chgData name="Hanson, Kevin" userId="e60c6aad-8614-4884-8dc2-e8f78e5022b5" providerId="ADAL" clId="{903BCA11-1197-47C9-BB4C-9F4F3702DC73}" dt="2023-03-28T21:29:23.366" v="1083" actId="14100"/>
        <pc:sldMkLst>
          <pc:docMk/>
          <pc:sldMk cId="2751850254" sldId="2141411562"/>
        </pc:sldMkLst>
        <pc:spChg chg="mod">
          <ac:chgData name="Hanson, Kevin" userId="e60c6aad-8614-4884-8dc2-e8f78e5022b5" providerId="ADAL" clId="{903BCA11-1197-47C9-BB4C-9F4F3702DC73}" dt="2023-03-28T21:29:23.366" v="1083" actId="14100"/>
          <ac:spMkLst>
            <pc:docMk/>
            <pc:sldMk cId="2751850254" sldId="2141411562"/>
            <ac:spMk id="3" creationId="{9EA6F890-192F-4495-95FE-E7EA7DADA00B}"/>
          </ac:spMkLst>
        </pc:spChg>
        <pc:picChg chg="add mod">
          <ac:chgData name="Hanson, Kevin" userId="e60c6aad-8614-4884-8dc2-e8f78e5022b5" providerId="ADAL" clId="{903BCA11-1197-47C9-BB4C-9F4F3702DC73}" dt="2023-03-28T21:29:00.802" v="1063" actId="14100"/>
          <ac:picMkLst>
            <pc:docMk/>
            <pc:sldMk cId="2751850254" sldId="2141411562"/>
            <ac:picMk id="5" creationId="{697DD181-19BF-4072-B7A6-D70BD468216E}"/>
          </ac:picMkLst>
        </pc:picChg>
      </pc:sldChg>
      <pc:sldChg chg="del">
        <pc:chgData name="Hanson, Kevin" userId="e60c6aad-8614-4884-8dc2-e8f78e5022b5" providerId="ADAL" clId="{903BCA11-1197-47C9-BB4C-9F4F3702DC73}" dt="2023-03-28T20:38:39.965" v="55" actId="47"/>
        <pc:sldMkLst>
          <pc:docMk/>
          <pc:sldMk cId="3940105943" sldId="2141411566"/>
        </pc:sldMkLst>
      </pc:sldChg>
      <pc:sldChg chg="del">
        <pc:chgData name="Hanson, Kevin" userId="e60c6aad-8614-4884-8dc2-e8f78e5022b5" providerId="ADAL" clId="{903BCA11-1197-47C9-BB4C-9F4F3702DC73}" dt="2023-03-28T20:38:43.164" v="66" actId="47"/>
        <pc:sldMkLst>
          <pc:docMk/>
          <pc:sldMk cId="1954725469" sldId="2141411567"/>
        </pc:sldMkLst>
      </pc:sldChg>
      <pc:sldChg chg="del">
        <pc:chgData name="Hanson, Kevin" userId="e60c6aad-8614-4884-8dc2-e8f78e5022b5" providerId="ADAL" clId="{903BCA11-1197-47C9-BB4C-9F4F3702DC73}" dt="2023-03-28T20:38:40.896" v="58" actId="47"/>
        <pc:sldMkLst>
          <pc:docMk/>
          <pc:sldMk cId="1297516391" sldId="2141411568"/>
        </pc:sldMkLst>
      </pc:sldChg>
      <pc:sldChg chg="del">
        <pc:chgData name="Hanson, Kevin" userId="e60c6aad-8614-4884-8dc2-e8f78e5022b5" providerId="ADAL" clId="{903BCA11-1197-47C9-BB4C-9F4F3702DC73}" dt="2023-03-28T20:38:40.704" v="57" actId="47"/>
        <pc:sldMkLst>
          <pc:docMk/>
          <pc:sldMk cId="3314498188" sldId="2141411570"/>
        </pc:sldMkLst>
      </pc:sldChg>
      <pc:sldChg chg="del">
        <pc:chgData name="Hanson, Kevin" userId="e60c6aad-8614-4884-8dc2-e8f78e5022b5" providerId="ADAL" clId="{903BCA11-1197-47C9-BB4C-9F4F3702DC73}" dt="2023-03-28T20:38:41.682" v="60" actId="47"/>
        <pc:sldMkLst>
          <pc:docMk/>
          <pc:sldMk cId="4060944285" sldId="2141411571"/>
        </pc:sldMkLst>
      </pc:sldChg>
      <pc:sldChg chg="del">
        <pc:chgData name="Hanson, Kevin" userId="e60c6aad-8614-4884-8dc2-e8f78e5022b5" providerId="ADAL" clId="{903BCA11-1197-47C9-BB4C-9F4F3702DC73}" dt="2023-03-28T20:38:41.351" v="59" actId="47"/>
        <pc:sldMkLst>
          <pc:docMk/>
          <pc:sldMk cId="2760677837" sldId="2141411572"/>
        </pc:sldMkLst>
      </pc:sldChg>
      <pc:sldChg chg="del">
        <pc:chgData name="Hanson, Kevin" userId="e60c6aad-8614-4884-8dc2-e8f78e5022b5" providerId="ADAL" clId="{903BCA11-1197-47C9-BB4C-9F4F3702DC73}" dt="2023-03-28T20:38:46.783" v="68" actId="47"/>
        <pc:sldMkLst>
          <pc:docMk/>
          <pc:sldMk cId="3058621513" sldId="2141411574"/>
        </pc:sldMkLst>
      </pc:sldChg>
      <pc:sldChg chg="del">
        <pc:chgData name="Hanson, Kevin" userId="e60c6aad-8614-4884-8dc2-e8f78e5022b5" providerId="ADAL" clId="{903BCA11-1197-47C9-BB4C-9F4F3702DC73}" dt="2023-03-28T20:38:42.197" v="62" actId="47"/>
        <pc:sldMkLst>
          <pc:docMk/>
          <pc:sldMk cId="3072003594" sldId="2141411575"/>
        </pc:sldMkLst>
      </pc:sldChg>
      <pc:sldChg chg="del">
        <pc:chgData name="Hanson, Kevin" userId="e60c6aad-8614-4884-8dc2-e8f78e5022b5" providerId="ADAL" clId="{903BCA11-1197-47C9-BB4C-9F4F3702DC73}" dt="2023-03-28T20:38:45.581" v="67" actId="47"/>
        <pc:sldMkLst>
          <pc:docMk/>
          <pc:sldMk cId="3674008762" sldId="2141411576"/>
        </pc:sldMkLst>
      </pc:sldChg>
      <pc:sldChg chg="del">
        <pc:chgData name="Hanson, Kevin" userId="e60c6aad-8614-4884-8dc2-e8f78e5022b5" providerId="ADAL" clId="{903BCA11-1197-47C9-BB4C-9F4F3702DC73}" dt="2023-03-28T20:38:41.841" v="61" actId="47"/>
        <pc:sldMkLst>
          <pc:docMk/>
          <pc:sldMk cId="1145348421" sldId="2141411577"/>
        </pc:sldMkLst>
      </pc:sldChg>
      <pc:sldChg chg="del">
        <pc:chgData name="Hanson, Kevin" userId="e60c6aad-8614-4884-8dc2-e8f78e5022b5" providerId="ADAL" clId="{903BCA11-1197-47C9-BB4C-9F4F3702DC73}" dt="2023-03-28T20:38:40.404" v="56" actId="47"/>
        <pc:sldMkLst>
          <pc:docMk/>
          <pc:sldMk cId="1922580198" sldId="2141411579"/>
        </pc:sldMkLst>
      </pc:sldChg>
      <pc:sldChg chg="del">
        <pc:chgData name="Hanson, Kevin" userId="e60c6aad-8614-4884-8dc2-e8f78e5022b5" providerId="ADAL" clId="{903BCA11-1197-47C9-BB4C-9F4F3702DC73}" dt="2023-03-28T20:38:39.446" v="53" actId="47"/>
        <pc:sldMkLst>
          <pc:docMk/>
          <pc:sldMk cId="69982838" sldId="2141411580"/>
        </pc:sldMkLst>
      </pc:sldChg>
      <pc:sldChg chg="del">
        <pc:chgData name="Hanson, Kevin" userId="e60c6aad-8614-4884-8dc2-e8f78e5022b5" providerId="ADAL" clId="{903BCA11-1197-47C9-BB4C-9F4F3702DC73}" dt="2023-03-28T20:38:38.015" v="49" actId="47"/>
        <pc:sldMkLst>
          <pc:docMk/>
          <pc:sldMk cId="2821583136" sldId="2141411581"/>
        </pc:sldMkLst>
      </pc:sldChg>
      <pc:sldChg chg="del">
        <pc:chgData name="Hanson, Kevin" userId="e60c6aad-8614-4884-8dc2-e8f78e5022b5" providerId="ADAL" clId="{903BCA11-1197-47C9-BB4C-9F4F3702DC73}" dt="2023-03-28T20:38:42.581" v="63" actId="47"/>
        <pc:sldMkLst>
          <pc:docMk/>
          <pc:sldMk cId="2067499809" sldId="2141411583"/>
        </pc:sldMkLst>
      </pc:sldChg>
      <pc:sldChg chg="del">
        <pc:chgData name="Hanson, Kevin" userId="e60c6aad-8614-4884-8dc2-e8f78e5022b5" providerId="ADAL" clId="{903BCA11-1197-47C9-BB4C-9F4F3702DC73}" dt="2023-03-28T20:38:42.769" v="64" actId="47"/>
        <pc:sldMkLst>
          <pc:docMk/>
          <pc:sldMk cId="2154686554" sldId="2141411584"/>
        </pc:sldMkLst>
      </pc:sldChg>
      <pc:sldChg chg="del">
        <pc:chgData name="Hanson, Kevin" userId="e60c6aad-8614-4884-8dc2-e8f78e5022b5" providerId="ADAL" clId="{903BCA11-1197-47C9-BB4C-9F4F3702DC73}" dt="2023-03-28T20:38:42.970" v="65" actId="47"/>
        <pc:sldMkLst>
          <pc:docMk/>
          <pc:sldMk cId="2878579579" sldId="2141411585"/>
        </pc:sldMkLst>
      </pc:sldChg>
      <pc:sldMasterChg chg="delSldLayout">
        <pc:chgData name="Hanson, Kevin" userId="e60c6aad-8614-4884-8dc2-e8f78e5022b5" providerId="ADAL" clId="{903BCA11-1197-47C9-BB4C-9F4F3702DC73}" dt="2023-03-28T20:38:47.565" v="69" actId="47"/>
        <pc:sldMasterMkLst>
          <pc:docMk/>
          <pc:sldMasterMk cId="0" sldId="2147483651"/>
        </pc:sldMasterMkLst>
        <pc:sldLayoutChg chg="del">
          <pc:chgData name="Hanson, Kevin" userId="e60c6aad-8614-4884-8dc2-e8f78e5022b5" providerId="ADAL" clId="{903BCA11-1197-47C9-BB4C-9F4F3702DC73}" dt="2023-03-28T20:38:47.565" v="69" actId="47"/>
          <pc:sldLayoutMkLst>
            <pc:docMk/>
            <pc:sldMasterMk cId="0" sldId="2147483651"/>
            <pc:sldLayoutMk cId="1271749244" sldId="2147483830"/>
          </pc:sldLayoutMkLst>
        </pc:sldLayoutChg>
      </pc:sldMasterChg>
    </pc:docChg>
  </pc:docChgLst>
  <pc:docChgLst>
    <pc:chgData name="Hanson, Kevin" userId="e60c6aad-8614-4884-8dc2-e8f78e5022b5" providerId="ADAL" clId="{0D7E55F9-97E2-4E41-B7AC-C038EF874D60}"/>
    <pc:docChg chg="custSel modSld sldOrd">
      <pc:chgData name="Hanson, Kevin" userId="e60c6aad-8614-4884-8dc2-e8f78e5022b5" providerId="ADAL" clId="{0D7E55F9-97E2-4E41-B7AC-C038EF874D60}" dt="2023-03-02T18:27:11.776" v="5" actId="478"/>
      <pc:docMkLst>
        <pc:docMk/>
      </pc:docMkLst>
      <pc:sldChg chg="ord">
        <pc:chgData name="Hanson, Kevin" userId="e60c6aad-8614-4884-8dc2-e8f78e5022b5" providerId="ADAL" clId="{0D7E55F9-97E2-4E41-B7AC-C038EF874D60}" dt="2023-03-02T18:27:00.557" v="1"/>
        <pc:sldMkLst>
          <pc:docMk/>
          <pc:sldMk cId="3674008762" sldId="2141411576"/>
        </pc:sldMkLst>
      </pc:sldChg>
      <pc:sldChg chg="delSp mod">
        <pc:chgData name="Hanson, Kevin" userId="e60c6aad-8614-4884-8dc2-e8f78e5022b5" providerId="ADAL" clId="{0D7E55F9-97E2-4E41-B7AC-C038EF874D60}" dt="2023-03-02T18:27:09.728" v="4" actId="478"/>
        <pc:sldMkLst>
          <pc:docMk/>
          <pc:sldMk cId="2067499809" sldId="2141411583"/>
        </pc:sldMkLst>
        <pc:picChg chg="del">
          <ac:chgData name="Hanson, Kevin" userId="e60c6aad-8614-4884-8dc2-e8f78e5022b5" providerId="ADAL" clId="{0D7E55F9-97E2-4E41-B7AC-C038EF874D60}" dt="2023-03-02T18:27:09.728" v="4" actId="478"/>
          <ac:picMkLst>
            <pc:docMk/>
            <pc:sldMk cId="2067499809" sldId="2141411583"/>
            <ac:picMk id="27" creationId="{230234FC-498A-40FB-BBCF-B2C8683E6A0C}"/>
          </ac:picMkLst>
        </pc:picChg>
      </pc:sldChg>
      <pc:sldChg chg="delSp mod">
        <pc:chgData name="Hanson, Kevin" userId="e60c6aad-8614-4884-8dc2-e8f78e5022b5" providerId="ADAL" clId="{0D7E55F9-97E2-4E41-B7AC-C038EF874D60}" dt="2023-03-02T18:27:11.776" v="5" actId="478"/>
        <pc:sldMkLst>
          <pc:docMk/>
          <pc:sldMk cId="2154686554" sldId="2141411584"/>
        </pc:sldMkLst>
        <pc:picChg chg="del">
          <ac:chgData name="Hanson, Kevin" userId="e60c6aad-8614-4884-8dc2-e8f78e5022b5" providerId="ADAL" clId="{0D7E55F9-97E2-4E41-B7AC-C038EF874D60}" dt="2023-03-02T18:27:11.776" v="5" actId="478"/>
          <ac:picMkLst>
            <pc:docMk/>
            <pc:sldMk cId="2154686554" sldId="2141411584"/>
            <ac:picMk id="24" creationId="{FF88DDD0-4D0A-4285-8D01-395416147904}"/>
          </ac:picMkLst>
        </pc:picChg>
      </pc:sldChg>
      <pc:sldChg chg="ord">
        <pc:chgData name="Hanson, Kevin" userId="e60c6aad-8614-4884-8dc2-e8f78e5022b5" providerId="ADAL" clId="{0D7E55F9-97E2-4E41-B7AC-C038EF874D60}" dt="2023-03-02T18:27:02.177" v="3"/>
        <pc:sldMkLst>
          <pc:docMk/>
          <pc:sldMk cId="2878579579" sldId="2141411585"/>
        </pc:sldMkLst>
      </pc:sldChg>
    </pc:docChg>
  </pc:docChgLst>
  <pc:docChgLst>
    <pc:chgData name="Kevin" userId="e60c6aad-8614-4884-8dc2-e8f78e5022b5" providerId="ADAL" clId="{0536CECE-4144-4706-80E5-F0639FAB9BEA}"/>
    <pc:docChg chg="undo custSel addSld delSld modSld">
      <pc:chgData name="Kevin" userId="e60c6aad-8614-4884-8dc2-e8f78e5022b5" providerId="ADAL" clId="{0536CECE-4144-4706-80E5-F0639FAB9BEA}" dt="2023-06-01T20:24:09.747" v="1147" actId="1076"/>
      <pc:docMkLst>
        <pc:docMk/>
      </pc:docMkLst>
      <pc:sldChg chg="modSp mod">
        <pc:chgData name="Kevin" userId="e60c6aad-8614-4884-8dc2-e8f78e5022b5" providerId="ADAL" clId="{0536CECE-4144-4706-80E5-F0639FAB9BEA}" dt="2023-06-01T19:54:46.167" v="81" actId="20577"/>
        <pc:sldMkLst>
          <pc:docMk/>
          <pc:sldMk cId="136374311" sldId="546"/>
        </pc:sldMkLst>
        <pc:spChg chg="mod">
          <ac:chgData name="Kevin" userId="e60c6aad-8614-4884-8dc2-e8f78e5022b5" providerId="ADAL" clId="{0536CECE-4144-4706-80E5-F0639FAB9BEA}" dt="2023-06-01T19:51:21.672" v="17" actId="20577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Kevin" userId="e60c6aad-8614-4884-8dc2-e8f78e5022b5" providerId="ADAL" clId="{0536CECE-4144-4706-80E5-F0639FAB9BEA}" dt="2023-06-01T19:54:46.167" v="81" actId="20577"/>
          <ac:spMkLst>
            <pc:docMk/>
            <pc:sldMk cId="136374311" sldId="546"/>
            <ac:spMk id="3" creationId="{00000000-0000-0000-0000-000000000000}"/>
          </ac:spMkLst>
        </pc:spChg>
      </pc:sldChg>
      <pc:sldChg chg="modSp mod">
        <pc:chgData name="Kevin" userId="e60c6aad-8614-4884-8dc2-e8f78e5022b5" providerId="ADAL" clId="{0536CECE-4144-4706-80E5-F0639FAB9BEA}" dt="2023-06-01T20:09:46.991" v="690" actId="20577"/>
        <pc:sldMkLst>
          <pc:docMk/>
          <pc:sldMk cId="3173487482" sldId="2141411554"/>
        </pc:sldMkLst>
        <pc:spChg chg="mod">
          <ac:chgData name="Kevin" userId="e60c6aad-8614-4884-8dc2-e8f78e5022b5" providerId="ADAL" clId="{0536CECE-4144-4706-80E5-F0639FAB9BEA}" dt="2023-06-01T20:09:46.991" v="690" actId="20577"/>
          <ac:spMkLst>
            <pc:docMk/>
            <pc:sldMk cId="3173487482" sldId="2141411554"/>
            <ac:spMk id="3" creationId="{E1F3F72A-850B-4B6D-BB79-4D65474A0470}"/>
          </ac:spMkLst>
        </pc:spChg>
      </pc:sldChg>
      <pc:sldChg chg="del">
        <pc:chgData name="Kevin" userId="e60c6aad-8614-4884-8dc2-e8f78e5022b5" providerId="ADAL" clId="{0536CECE-4144-4706-80E5-F0639FAB9BEA}" dt="2023-06-01T19:57:58.044" v="83" actId="47"/>
        <pc:sldMkLst>
          <pc:docMk/>
          <pc:sldMk cId="3914903359" sldId="2141411555"/>
        </pc:sldMkLst>
      </pc:sldChg>
      <pc:sldChg chg="addSp delSp modSp mod">
        <pc:chgData name="Kevin" userId="e60c6aad-8614-4884-8dc2-e8f78e5022b5" providerId="ADAL" clId="{0536CECE-4144-4706-80E5-F0639FAB9BEA}" dt="2023-06-01T20:24:09.747" v="1147" actId="1076"/>
        <pc:sldMkLst>
          <pc:docMk/>
          <pc:sldMk cId="1713826490" sldId="2141411563"/>
        </pc:sldMkLst>
        <pc:spChg chg="del">
          <ac:chgData name="Kevin" userId="e60c6aad-8614-4884-8dc2-e8f78e5022b5" providerId="ADAL" clId="{0536CECE-4144-4706-80E5-F0639FAB9BEA}" dt="2023-06-01T20:24:00.932" v="1145" actId="478"/>
          <ac:spMkLst>
            <pc:docMk/>
            <pc:sldMk cId="1713826490" sldId="2141411563"/>
            <ac:spMk id="3" creationId="{9EA6F890-192F-4495-95FE-E7EA7DADA00B}"/>
          </ac:spMkLst>
        </pc:spChg>
        <pc:spChg chg="mod">
          <ac:chgData name="Kevin" userId="e60c6aad-8614-4884-8dc2-e8f78e5022b5" providerId="ADAL" clId="{0536CECE-4144-4706-80E5-F0639FAB9BEA}" dt="2023-06-01T20:23:26.063" v="1140"/>
          <ac:spMkLst>
            <pc:docMk/>
            <pc:sldMk cId="1713826490" sldId="2141411563"/>
            <ac:spMk id="4" creationId="{1CCD6C1B-3C18-4BBD-9056-72F40A1C644D}"/>
          </ac:spMkLst>
        </pc:spChg>
        <pc:spChg chg="add del mod">
          <ac:chgData name="Kevin" userId="e60c6aad-8614-4884-8dc2-e8f78e5022b5" providerId="ADAL" clId="{0536CECE-4144-4706-80E5-F0639FAB9BEA}" dt="2023-06-01T20:24:04.796" v="1146" actId="478"/>
          <ac:spMkLst>
            <pc:docMk/>
            <pc:sldMk cId="1713826490" sldId="2141411563"/>
            <ac:spMk id="7" creationId="{070E7194-1CBC-4B69-91CE-1C1A9B33BA30}"/>
          </ac:spMkLst>
        </pc:spChg>
        <pc:picChg chg="del">
          <ac:chgData name="Kevin" userId="e60c6aad-8614-4884-8dc2-e8f78e5022b5" providerId="ADAL" clId="{0536CECE-4144-4706-80E5-F0639FAB9BEA}" dt="2023-06-01T20:23:30.645" v="1141" actId="478"/>
          <ac:picMkLst>
            <pc:docMk/>
            <pc:sldMk cId="1713826490" sldId="2141411563"/>
            <ac:picMk id="5" creationId="{53A61B6C-A707-439F-920B-9BF060FD7F94}"/>
          </ac:picMkLst>
        </pc:picChg>
        <pc:picChg chg="add mod">
          <ac:chgData name="Kevin" userId="e60c6aad-8614-4884-8dc2-e8f78e5022b5" providerId="ADAL" clId="{0536CECE-4144-4706-80E5-F0639FAB9BEA}" dt="2023-06-01T20:24:09.747" v="1147" actId="1076"/>
          <ac:picMkLst>
            <pc:docMk/>
            <pc:sldMk cId="1713826490" sldId="2141411563"/>
            <ac:picMk id="6" creationId="{96EA42C0-A68C-4B38-ADBD-A7AA2692613D}"/>
          </ac:picMkLst>
        </pc:picChg>
      </pc:sldChg>
      <pc:sldChg chg="del">
        <pc:chgData name="Kevin" userId="e60c6aad-8614-4884-8dc2-e8f78e5022b5" providerId="ADAL" clId="{0536CECE-4144-4706-80E5-F0639FAB9BEA}" dt="2023-06-01T19:57:57.418" v="82" actId="47"/>
        <pc:sldMkLst>
          <pc:docMk/>
          <pc:sldMk cId="2805232867" sldId="2141411564"/>
        </pc:sldMkLst>
      </pc:sldChg>
      <pc:sldChg chg="addSp delSp modSp add mod">
        <pc:chgData name="Kevin" userId="e60c6aad-8614-4884-8dc2-e8f78e5022b5" providerId="ADAL" clId="{0536CECE-4144-4706-80E5-F0639FAB9BEA}" dt="2023-06-01T20:10:01.618" v="691" actId="1076"/>
        <pc:sldMkLst>
          <pc:docMk/>
          <pc:sldMk cId="3243580780" sldId="2141411564"/>
        </pc:sldMkLst>
        <pc:spChg chg="mod">
          <ac:chgData name="Kevin" userId="e60c6aad-8614-4884-8dc2-e8f78e5022b5" providerId="ADAL" clId="{0536CECE-4144-4706-80E5-F0639FAB9BEA}" dt="2023-06-01T20:08:50.167" v="616" actId="20577"/>
          <ac:spMkLst>
            <pc:docMk/>
            <pc:sldMk cId="3243580780" sldId="2141411564"/>
            <ac:spMk id="3" creationId="{9EA6F890-192F-4495-95FE-E7EA7DADA00B}"/>
          </ac:spMkLst>
        </pc:spChg>
        <pc:spChg chg="mod">
          <ac:chgData name="Kevin" userId="e60c6aad-8614-4884-8dc2-e8f78e5022b5" providerId="ADAL" clId="{0536CECE-4144-4706-80E5-F0639FAB9BEA}" dt="2023-06-01T20:04:55.784" v="393"/>
          <ac:spMkLst>
            <pc:docMk/>
            <pc:sldMk cId="3243580780" sldId="2141411564"/>
            <ac:spMk id="4" creationId="{1CCD6C1B-3C18-4BBD-9056-72F40A1C644D}"/>
          </ac:spMkLst>
        </pc:spChg>
        <pc:picChg chg="del">
          <ac:chgData name="Kevin" userId="e60c6aad-8614-4884-8dc2-e8f78e5022b5" providerId="ADAL" clId="{0536CECE-4144-4706-80E5-F0639FAB9BEA}" dt="2023-06-01T20:04:25.463" v="391" actId="478"/>
          <ac:picMkLst>
            <pc:docMk/>
            <pc:sldMk cId="3243580780" sldId="2141411564"/>
            <ac:picMk id="5" creationId="{53A61B6C-A707-439F-920B-9BF060FD7F94}"/>
          </ac:picMkLst>
        </pc:picChg>
        <pc:picChg chg="add mod">
          <ac:chgData name="Kevin" userId="e60c6aad-8614-4884-8dc2-e8f78e5022b5" providerId="ADAL" clId="{0536CECE-4144-4706-80E5-F0639FAB9BEA}" dt="2023-06-01T20:10:01.618" v="691" actId="1076"/>
          <ac:picMkLst>
            <pc:docMk/>
            <pc:sldMk cId="3243580780" sldId="2141411564"/>
            <ac:picMk id="6" creationId="{6FF6C23E-3FA3-44B6-A269-D729E6F683DF}"/>
          </ac:picMkLst>
        </pc:picChg>
      </pc:sldChg>
      <pc:sldChg chg="addSp delSp modSp add mod">
        <pc:chgData name="Kevin" userId="e60c6aad-8614-4884-8dc2-e8f78e5022b5" providerId="ADAL" clId="{0536CECE-4144-4706-80E5-F0639FAB9BEA}" dt="2023-06-01T20:16:35.326" v="990" actId="20577"/>
        <pc:sldMkLst>
          <pc:docMk/>
          <pc:sldMk cId="808205323" sldId="2141411565"/>
        </pc:sldMkLst>
        <pc:spChg chg="del mod">
          <ac:chgData name="Kevin" userId="e60c6aad-8614-4884-8dc2-e8f78e5022b5" providerId="ADAL" clId="{0536CECE-4144-4706-80E5-F0639FAB9BEA}" dt="2023-06-01T20:13:03.224" v="701" actId="478"/>
          <ac:spMkLst>
            <pc:docMk/>
            <pc:sldMk cId="808205323" sldId="2141411565"/>
            <ac:spMk id="3" creationId="{9EA6F890-192F-4495-95FE-E7EA7DADA00B}"/>
          </ac:spMkLst>
        </pc:spChg>
        <pc:spChg chg="mod">
          <ac:chgData name="Kevin" userId="e60c6aad-8614-4884-8dc2-e8f78e5022b5" providerId="ADAL" clId="{0536CECE-4144-4706-80E5-F0639FAB9BEA}" dt="2023-06-01T20:12:03.518" v="693"/>
          <ac:spMkLst>
            <pc:docMk/>
            <pc:sldMk cId="808205323" sldId="2141411565"/>
            <ac:spMk id="4" creationId="{1CCD6C1B-3C18-4BBD-9056-72F40A1C644D}"/>
          </ac:spMkLst>
        </pc:spChg>
        <pc:spChg chg="add del mod">
          <ac:chgData name="Kevin" userId="e60c6aad-8614-4884-8dc2-e8f78e5022b5" providerId="ADAL" clId="{0536CECE-4144-4706-80E5-F0639FAB9BEA}" dt="2023-06-01T20:16:35.326" v="990" actId="20577"/>
          <ac:spMkLst>
            <pc:docMk/>
            <pc:sldMk cId="808205323" sldId="2141411565"/>
            <ac:spMk id="7" creationId="{500F3B3C-D786-4B10-AA24-9DE5F6FECF5D}"/>
          </ac:spMkLst>
        </pc:spChg>
        <pc:picChg chg="add mod">
          <ac:chgData name="Kevin" userId="e60c6aad-8614-4884-8dc2-e8f78e5022b5" providerId="ADAL" clId="{0536CECE-4144-4706-80E5-F0639FAB9BEA}" dt="2023-06-01T20:14:01.076" v="718" actId="1076"/>
          <ac:picMkLst>
            <pc:docMk/>
            <pc:sldMk cId="808205323" sldId="2141411565"/>
            <ac:picMk id="5" creationId="{FE71DA86-4F8E-4927-87EB-4D0833F99AEF}"/>
          </ac:picMkLst>
        </pc:picChg>
        <pc:picChg chg="del">
          <ac:chgData name="Kevin" userId="e60c6aad-8614-4884-8dc2-e8f78e5022b5" providerId="ADAL" clId="{0536CECE-4144-4706-80E5-F0639FAB9BEA}" dt="2023-06-01T20:12:07.600" v="694" actId="478"/>
          <ac:picMkLst>
            <pc:docMk/>
            <pc:sldMk cId="808205323" sldId="2141411565"/>
            <ac:picMk id="6" creationId="{6FF6C23E-3FA3-44B6-A269-D729E6F683DF}"/>
          </ac:picMkLst>
        </pc:picChg>
      </pc:sldChg>
      <pc:sldChg chg="del">
        <pc:chgData name="Kevin" userId="e60c6aad-8614-4884-8dc2-e8f78e5022b5" providerId="ADAL" clId="{0536CECE-4144-4706-80E5-F0639FAB9BEA}" dt="2023-06-01T19:57:58.592" v="84" actId="47"/>
        <pc:sldMkLst>
          <pc:docMk/>
          <pc:sldMk cId="3984087293" sldId="2141411565"/>
        </pc:sldMkLst>
      </pc:sldChg>
      <pc:sldChg chg="addSp delSp modSp add mod">
        <pc:chgData name="Kevin" userId="e60c6aad-8614-4884-8dc2-e8f78e5022b5" providerId="ADAL" clId="{0536CECE-4144-4706-80E5-F0639FAB9BEA}" dt="2023-06-01T20:22:23.445" v="1139" actId="1076"/>
        <pc:sldMkLst>
          <pc:docMk/>
          <pc:sldMk cId="127280838" sldId="2141411566"/>
        </pc:sldMkLst>
        <pc:spChg chg="mod">
          <ac:chgData name="Kevin" userId="e60c6aad-8614-4884-8dc2-e8f78e5022b5" providerId="ADAL" clId="{0536CECE-4144-4706-80E5-F0639FAB9BEA}" dt="2023-06-01T20:22:23.445" v="1139" actId="1076"/>
          <ac:spMkLst>
            <pc:docMk/>
            <pc:sldMk cId="127280838" sldId="2141411566"/>
            <ac:spMk id="3" creationId="{9EA6F890-192F-4495-95FE-E7EA7DADA00B}"/>
          </ac:spMkLst>
        </pc:spChg>
        <pc:spChg chg="mod">
          <ac:chgData name="Kevin" userId="e60c6aad-8614-4884-8dc2-e8f78e5022b5" providerId="ADAL" clId="{0536CECE-4144-4706-80E5-F0639FAB9BEA}" dt="2023-06-01T20:17:38.678" v="992"/>
          <ac:spMkLst>
            <pc:docMk/>
            <pc:sldMk cId="127280838" sldId="2141411566"/>
            <ac:spMk id="4" creationId="{1CCD6C1B-3C18-4BBD-9056-72F40A1C644D}"/>
          </ac:spMkLst>
        </pc:spChg>
        <pc:picChg chg="add mod">
          <ac:chgData name="Kevin" userId="e60c6aad-8614-4884-8dc2-e8f78e5022b5" providerId="ADAL" clId="{0536CECE-4144-4706-80E5-F0639FAB9BEA}" dt="2023-06-01T20:21:52.339" v="1131" actId="1076"/>
          <ac:picMkLst>
            <pc:docMk/>
            <pc:sldMk cId="127280838" sldId="2141411566"/>
            <ac:picMk id="5" creationId="{DB10EE10-803C-4CEE-A146-6CE24C737FF4}"/>
          </ac:picMkLst>
        </pc:picChg>
        <pc:picChg chg="del">
          <ac:chgData name="Kevin" userId="e60c6aad-8614-4884-8dc2-e8f78e5022b5" providerId="ADAL" clId="{0536CECE-4144-4706-80E5-F0639FAB9BEA}" dt="2023-06-01T20:17:40.389" v="993" actId="478"/>
          <ac:picMkLst>
            <pc:docMk/>
            <pc:sldMk cId="127280838" sldId="2141411566"/>
            <ac:picMk id="6" creationId="{6FF6C23E-3FA3-44B6-A269-D729E6F683DF}"/>
          </ac:picMkLst>
        </pc:picChg>
      </pc:sldChg>
      <pc:sldChg chg="del">
        <pc:chgData name="Kevin" userId="e60c6aad-8614-4884-8dc2-e8f78e5022b5" providerId="ADAL" clId="{0536CECE-4144-4706-80E5-F0639FAB9BEA}" dt="2023-06-01T19:57:59.032" v="85" actId="47"/>
        <pc:sldMkLst>
          <pc:docMk/>
          <pc:sldMk cId="2413391817" sldId="2141411566"/>
        </pc:sldMkLst>
      </pc:sldChg>
      <pc:sldChg chg="del">
        <pc:chgData name="Kevin" userId="e60c6aad-8614-4884-8dc2-e8f78e5022b5" providerId="ADAL" clId="{0536CECE-4144-4706-80E5-F0639FAB9BEA}" dt="2023-06-01T19:57:59.420" v="86" actId="47"/>
        <pc:sldMkLst>
          <pc:docMk/>
          <pc:sldMk cId="217982368" sldId="2141411567"/>
        </pc:sldMkLst>
      </pc:sldChg>
      <pc:sldChg chg="del">
        <pc:chgData name="Kevin" userId="e60c6aad-8614-4884-8dc2-e8f78e5022b5" providerId="ADAL" clId="{0536CECE-4144-4706-80E5-F0639FAB9BEA}" dt="2023-06-01T19:58:00.073" v="87" actId="47"/>
        <pc:sldMkLst>
          <pc:docMk/>
          <pc:sldMk cId="23409199" sldId="2141411568"/>
        </pc:sldMkLst>
      </pc:sldChg>
      <pc:sldChg chg="del">
        <pc:chgData name="Kevin" userId="e60c6aad-8614-4884-8dc2-e8f78e5022b5" providerId="ADAL" clId="{0536CECE-4144-4706-80E5-F0639FAB9BEA}" dt="2023-06-01T19:58:00.649" v="88" actId="47"/>
        <pc:sldMkLst>
          <pc:docMk/>
          <pc:sldMk cId="4179999447" sldId="2141411569"/>
        </pc:sldMkLst>
      </pc:sldChg>
    </pc:docChg>
  </pc:docChgLst>
  <pc:docChgLst>
    <pc:chgData name="Kevin" userId="e60c6aad-8614-4884-8dc2-e8f78e5022b5" providerId="ADAL" clId="{C0B8B98D-D73E-4793-8C05-377D40232342}"/>
    <pc:docChg chg="undo custSel addSld delSld modSld">
      <pc:chgData name="Kevin" userId="e60c6aad-8614-4884-8dc2-e8f78e5022b5" providerId="ADAL" clId="{C0B8B98D-D73E-4793-8C05-377D40232342}" dt="2023-06-01T19:35:47.709" v="2540" actId="47"/>
      <pc:docMkLst>
        <pc:docMk/>
      </pc:docMkLst>
      <pc:sldChg chg="modSp mod">
        <pc:chgData name="Kevin" userId="e60c6aad-8614-4884-8dc2-e8f78e5022b5" providerId="ADAL" clId="{C0B8B98D-D73E-4793-8C05-377D40232342}" dt="2023-06-01T18:08:24.318" v="16" actId="20577"/>
        <pc:sldMkLst>
          <pc:docMk/>
          <pc:sldMk cId="136374311" sldId="546"/>
        </pc:sldMkLst>
        <pc:spChg chg="mod">
          <ac:chgData name="Kevin" userId="e60c6aad-8614-4884-8dc2-e8f78e5022b5" providerId="ADAL" clId="{C0B8B98D-D73E-4793-8C05-377D40232342}" dt="2023-06-01T18:08:17.044" v="11" actId="20577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Kevin" userId="e60c6aad-8614-4884-8dc2-e8f78e5022b5" providerId="ADAL" clId="{C0B8B98D-D73E-4793-8C05-377D40232342}" dt="2023-06-01T18:08:24.318" v="16" actId="20577"/>
          <ac:spMkLst>
            <pc:docMk/>
            <pc:sldMk cId="136374311" sldId="546"/>
            <ac:spMk id="3" creationId="{00000000-0000-0000-0000-000000000000}"/>
          </ac:spMkLst>
        </pc:spChg>
      </pc:sldChg>
      <pc:sldChg chg="modSp mod">
        <pc:chgData name="Kevin" userId="e60c6aad-8614-4884-8dc2-e8f78e5022b5" providerId="ADAL" clId="{C0B8B98D-D73E-4793-8C05-377D40232342}" dt="2023-06-01T19:35:25.642" v="2539" actId="20577"/>
        <pc:sldMkLst>
          <pc:docMk/>
          <pc:sldMk cId="3173487482" sldId="2141411554"/>
        </pc:sldMkLst>
        <pc:spChg chg="mod">
          <ac:chgData name="Kevin" userId="e60c6aad-8614-4884-8dc2-e8f78e5022b5" providerId="ADAL" clId="{C0B8B98D-D73E-4793-8C05-377D40232342}" dt="2023-06-01T19:35:25.642" v="2539" actId="20577"/>
          <ac:spMkLst>
            <pc:docMk/>
            <pc:sldMk cId="3173487482" sldId="2141411554"/>
            <ac:spMk id="3" creationId="{E1F3F72A-850B-4B6D-BB79-4D65474A0470}"/>
          </ac:spMkLst>
        </pc:spChg>
      </pc:sldChg>
      <pc:sldChg chg="addSp delSp modSp mod">
        <pc:chgData name="Kevin" userId="e60c6aad-8614-4884-8dc2-e8f78e5022b5" providerId="ADAL" clId="{C0B8B98D-D73E-4793-8C05-377D40232342}" dt="2023-06-01T18:32:03.816" v="1214" actId="20577"/>
        <pc:sldMkLst>
          <pc:docMk/>
          <pc:sldMk cId="3914903359" sldId="2141411555"/>
        </pc:sldMkLst>
        <pc:spChg chg="mod">
          <ac:chgData name="Kevin" userId="e60c6aad-8614-4884-8dc2-e8f78e5022b5" providerId="ADAL" clId="{C0B8B98D-D73E-4793-8C05-377D40232342}" dt="2023-06-01T18:32:03.816" v="1214" actId="20577"/>
          <ac:spMkLst>
            <pc:docMk/>
            <pc:sldMk cId="3914903359" sldId="2141411555"/>
            <ac:spMk id="3" creationId="{9EA6F890-192F-4495-95FE-E7EA7DADA00B}"/>
          </ac:spMkLst>
        </pc:spChg>
        <pc:spChg chg="mod">
          <ac:chgData name="Kevin" userId="e60c6aad-8614-4884-8dc2-e8f78e5022b5" providerId="ADAL" clId="{C0B8B98D-D73E-4793-8C05-377D40232342}" dt="2023-06-01T18:27:25.218" v="1086"/>
          <ac:spMkLst>
            <pc:docMk/>
            <pc:sldMk cId="3914903359" sldId="2141411555"/>
            <ac:spMk id="4" creationId="{1CCD6C1B-3C18-4BBD-9056-72F40A1C644D}"/>
          </ac:spMkLst>
        </pc:spChg>
        <pc:picChg chg="add mod ord">
          <ac:chgData name="Kevin" userId="e60c6aad-8614-4884-8dc2-e8f78e5022b5" providerId="ADAL" clId="{C0B8B98D-D73E-4793-8C05-377D40232342}" dt="2023-06-01T18:30:33.886" v="1097" actId="167"/>
          <ac:picMkLst>
            <pc:docMk/>
            <pc:sldMk cId="3914903359" sldId="2141411555"/>
            <ac:picMk id="5" creationId="{22D70CA5-772D-4F08-81B5-2244F95B7409}"/>
          </ac:picMkLst>
        </pc:picChg>
        <pc:picChg chg="del">
          <ac:chgData name="Kevin" userId="e60c6aad-8614-4884-8dc2-e8f78e5022b5" providerId="ADAL" clId="{C0B8B98D-D73E-4793-8C05-377D40232342}" dt="2023-06-01T18:27:31.939" v="1088" actId="478"/>
          <ac:picMkLst>
            <pc:docMk/>
            <pc:sldMk cId="3914903359" sldId="2141411555"/>
            <ac:picMk id="6" creationId="{08209DF2-4470-4DA0-B407-1729AA869CEE}"/>
          </ac:picMkLst>
        </pc:picChg>
        <pc:picChg chg="add mod ord">
          <ac:chgData name="Kevin" userId="e60c6aad-8614-4884-8dc2-e8f78e5022b5" providerId="ADAL" clId="{C0B8B98D-D73E-4793-8C05-377D40232342}" dt="2023-06-01T18:30:40.431" v="1098" actId="167"/>
          <ac:picMkLst>
            <pc:docMk/>
            <pc:sldMk cId="3914903359" sldId="2141411555"/>
            <ac:picMk id="8" creationId="{6BD25587-CB81-4123-89CF-427C643C3D8E}"/>
          </ac:picMkLst>
        </pc:picChg>
      </pc:sldChg>
      <pc:sldChg chg="delSp del mod">
        <pc:chgData name="Kevin" userId="e60c6aad-8614-4884-8dc2-e8f78e5022b5" providerId="ADAL" clId="{C0B8B98D-D73E-4793-8C05-377D40232342}" dt="2023-06-01T19:35:47.709" v="2540" actId="47"/>
        <pc:sldMkLst>
          <pc:docMk/>
          <pc:sldMk cId="1086420740" sldId="2141411556"/>
        </pc:sldMkLst>
        <pc:picChg chg="del">
          <ac:chgData name="Kevin" userId="e60c6aad-8614-4884-8dc2-e8f78e5022b5" providerId="ADAL" clId="{C0B8B98D-D73E-4793-8C05-377D40232342}" dt="2023-06-01T18:40:08.784" v="1486" actId="478"/>
          <ac:picMkLst>
            <pc:docMk/>
            <pc:sldMk cId="1086420740" sldId="2141411556"/>
            <ac:picMk id="5" creationId="{1A6CFFC7-3C5C-451C-B7EC-54612C1FB184}"/>
          </ac:picMkLst>
        </pc:picChg>
      </pc:sldChg>
      <pc:sldChg chg="del">
        <pc:chgData name="Kevin" userId="e60c6aad-8614-4884-8dc2-e8f78e5022b5" providerId="ADAL" clId="{C0B8B98D-D73E-4793-8C05-377D40232342}" dt="2023-06-01T19:00:09.786" v="2068" actId="47"/>
        <pc:sldMkLst>
          <pc:docMk/>
          <pc:sldMk cId="1644287103" sldId="2141411557"/>
        </pc:sldMkLst>
      </pc:sldChg>
      <pc:sldChg chg="del">
        <pc:chgData name="Kevin" userId="e60c6aad-8614-4884-8dc2-e8f78e5022b5" providerId="ADAL" clId="{C0B8B98D-D73E-4793-8C05-377D40232342}" dt="2023-06-01T19:00:21.450" v="2072" actId="47"/>
        <pc:sldMkLst>
          <pc:docMk/>
          <pc:sldMk cId="2694325457" sldId="2141411558"/>
        </pc:sldMkLst>
      </pc:sldChg>
      <pc:sldChg chg="del">
        <pc:chgData name="Kevin" userId="e60c6aad-8614-4884-8dc2-e8f78e5022b5" providerId="ADAL" clId="{C0B8B98D-D73E-4793-8C05-377D40232342}" dt="2023-06-01T19:00:16.684" v="2071" actId="47"/>
        <pc:sldMkLst>
          <pc:docMk/>
          <pc:sldMk cId="3444958256" sldId="2141411559"/>
        </pc:sldMkLst>
      </pc:sldChg>
      <pc:sldChg chg="del">
        <pc:chgData name="Kevin" userId="e60c6aad-8614-4884-8dc2-e8f78e5022b5" providerId="ADAL" clId="{C0B8B98D-D73E-4793-8C05-377D40232342}" dt="2023-06-01T19:00:15.441" v="2070" actId="47"/>
        <pc:sldMkLst>
          <pc:docMk/>
          <pc:sldMk cId="1351952326" sldId="2141411560"/>
        </pc:sldMkLst>
      </pc:sldChg>
      <pc:sldChg chg="del">
        <pc:chgData name="Kevin" userId="e60c6aad-8614-4884-8dc2-e8f78e5022b5" providerId="ADAL" clId="{C0B8B98D-D73E-4793-8C05-377D40232342}" dt="2023-06-01T19:00:11.578" v="2069" actId="47"/>
        <pc:sldMkLst>
          <pc:docMk/>
          <pc:sldMk cId="678589554" sldId="2141411561"/>
        </pc:sldMkLst>
      </pc:sldChg>
      <pc:sldChg chg="del">
        <pc:chgData name="Kevin" userId="e60c6aad-8614-4884-8dc2-e8f78e5022b5" providerId="ADAL" clId="{C0B8B98D-D73E-4793-8C05-377D40232342}" dt="2023-06-01T19:00:22.615" v="2073" actId="47"/>
        <pc:sldMkLst>
          <pc:docMk/>
          <pc:sldMk cId="2751850254" sldId="2141411562"/>
        </pc:sldMkLst>
      </pc:sldChg>
      <pc:sldChg chg="addSp modSp add mod">
        <pc:chgData name="Kevin" userId="e60c6aad-8614-4884-8dc2-e8f78e5022b5" providerId="ADAL" clId="{C0B8B98D-D73E-4793-8C05-377D40232342}" dt="2023-06-01T18:18:14.107" v="347" actId="20577"/>
        <pc:sldMkLst>
          <pc:docMk/>
          <pc:sldMk cId="1713826490" sldId="2141411563"/>
        </pc:sldMkLst>
        <pc:spChg chg="mod">
          <ac:chgData name="Kevin" userId="e60c6aad-8614-4884-8dc2-e8f78e5022b5" providerId="ADAL" clId="{C0B8B98D-D73E-4793-8C05-377D40232342}" dt="2023-06-01T18:18:14.107" v="347" actId="20577"/>
          <ac:spMkLst>
            <pc:docMk/>
            <pc:sldMk cId="1713826490" sldId="2141411563"/>
            <ac:spMk id="3" creationId="{9EA6F890-192F-4495-95FE-E7EA7DADA00B}"/>
          </ac:spMkLst>
        </pc:spChg>
        <pc:spChg chg="mod">
          <ac:chgData name="Kevin" userId="e60c6aad-8614-4884-8dc2-e8f78e5022b5" providerId="ADAL" clId="{C0B8B98D-D73E-4793-8C05-377D40232342}" dt="2023-06-01T18:12:40.734" v="179"/>
          <ac:spMkLst>
            <pc:docMk/>
            <pc:sldMk cId="1713826490" sldId="2141411563"/>
            <ac:spMk id="4" creationId="{1CCD6C1B-3C18-4BBD-9056-72F40A1C644D}"/>
          </ac:spMkLst>
        </pc:spChg>
        <pc:picChg chg="add mod">
          <ac:chgData name="Kevin" userId="e60c6aad-8614-4884-8dc2-e8f78e5022b5" providerId="ADAL" clId="{C0B8B98D-D73E-4793-8C05-377D40232342}" dt="2023-06-01T18:18:07.528" v="344" actId="1076"/>
          <ac:picMkLst>
            <pc:docMk/>
            <pc:sldMk cId="1713826490" sldId="2141411563"/>
            <ac:picMk id="5" creationId="{53A61B6C-A707-439F-920B-9BF060FD7F94}"/>
          </ac:picMkLst>
        </pc:picChg>
      </pc:sldChg>
      <pc:sldChg chg="delSp modSp add mod">
        <pc:chgData name="Kevin" userId="e60c6aad-8614-4884-8dc2-e8f78e5022b5" providerId="ADAL" clId="{C0B8B98D-D73E-4793-8C05-377D40232342}" dt="2023-06-01T18:26:13.861" v="1085" actId="1076"/>
        <pc:sldMkLst>
          <pc:docMk/>
          <pc:sldMk cId="2805232867" sldId="2141411564"/>
        </pc:sldMkLst>
        <pc:spChg chg="mod">
          <ac:chgData name="Kevin" userId="e60c6aad-8614-4884-8dc2-e8f78e5022b5" providerId="ADAL" clId="{C0B8B98D-D73E-4793-8C05-377D40232342}" dt="2023-06-01T18:26:13.861" v="1085" actId="1076"/>
          <ac:spMkLst>
            <pc:docMk/>
            <pc:sldMk cId="2805232867" sldId="2141411564"/>
            <ac:spMk id="3" creationId="{9EA6F890-192F-4495-95FE-E7EA7DADA00B}"/>
          </ac:spMkLst>
        </pc:spChg>
        <pc:picChg chg="del">
          <ac:chgData name="Kevin" userId="e60c6aad-8614-4884-8dc2-e8f78e5022b5" providerId="ADAL" clId="{C0B8B98D-D73E-4793-8C05-377D40232342}" dt="2023-06-01T18:18:49.872" v="349" actId="478"/>
          <ac:picMkLst>
            <pc:docMk/>
            <pc:sldMk cId="2805232867" sldId="2141411564"/>
            <ac:picMk id="5" creationId="{53A61B6C-A707-439F-920B-9BF060FD7F94}"/>
          </ac:picMkLst>
        </pc:picChg>
      </pc:sldChg>
      <pc:sldChg chg="addSp delSp modSp add mod">
        <pc:chgData name="Kevin" userId="e60c6aad-8614-4884-8dc2-e8f78e5022b5" providerId="ADAL" clId="{C0B8B98D-D73E-4793-8C05-377D40232342}" dt="2023-06-01T18:39:21.956" v="1484" actId="404"/>
        <pc:sldMkLst>
          <pc:docMk/>
          <pc:sldMk cId="3984087293" sldId="2141411565"/>
        </pc:sldMkLst>
        <pc:spChg chg="mod">
          <ac:chgData name="Kevin" userId="e60c6aad-8614-4884-8dc2-e8f78e5022b5" providerId="ADAL" clId="{C0B8B98D-D73E-4793-8C05-377D40232342}" dt="2023-06-01T18:39:21.956" v="1484" actId="404"/>
          <ac:spMkLst>
            <pc:docMk/>
            <pc:sldMk cId="3984087293" sldId="2141411565"/>
            <ac:spMk id="3" creationId="{9EA6F890-192F-4495-95FE-E7EA7DADA00B}"/>
          </ac:spMkLst>
        </pc:spChg>
        <pc:spChg chg="mod">
          <ac:chgData name="Kevin" userId="e60c6aad-8614-4884-8dc2-e8f78e5022b5" providerId="ADAL" clId="{C0B8B98D-D73E-4793-8C05-377D40232342}" dt="2023-06-01T18:33:28.453" v="1217"/>
          <ac:spMkLst>
            <pc:docMk/>
            <pc:sldMk cId="3984087293" sldId="2141411565"/>
            <ac:spMk id="4" creationId="{1CCD6C1B-3C18-4BBD-9056-72F40A1C644D}"/>
          </ac:spMkLst>
        </pc:spChg>
        <pc:picChg chg="del">
          <ac:chgData name="Kevin" userId="e60c6aad-8614-4884-8dc2-e8f78e5022b5" providerId="ADAL" clId="{C0B8B98D-D73E-4793-8C05-377D40232342}" dt="2023-06-01T18:33:16.770" v="1216" actId="478"/>
          <ac:picMkLst>
            <pc:docMk/>
            <pc:sldMk cId="3984087293" sldId="2141411565"/>
            <ac:picMk id="5" creationId="{1A6CFFC7-3C5C-451C-B7EC-54612C1FB184}"/>
          </ac:picMkLst>
        </pc:picChg>
        <pc:picChg chg="add mod">
          <ac:chgData name="Kevin" userId="e60c6aad-8614-4884-8dc2-e8f78e5022b5" providerId="ADAL" clId="{C0B8B98D-D73E-4793-8C05-377D40232342}" dt="2023-06-01T18:34:52.443" v="1220" actId="1076"/>
          <ac:picMkLst>
            <pc:docMk/>
            <pc:sldMk cId="3984087293" sldId="2141411565"/>
            <ac:picMk id="6" creationId="{D912A527-C296-4E2D-B81C-0D60F2AD51FD}"/>
          </ac:picMkLst>
        </pc:picChg>
      </pc:sldChg>
      <pc:sldChg chg="addSp delSp modSp add mod">
        <pc:chgData name="Kevin" userId="e60c6aad-8614-4884-8dc2-e8f78e5022b5" providerId="ADAL" clId="{C0B8B98D-D73E-4793-8C05-377D40232342}" dt="2023-06-01T18:44:37.626" v="1776" actId="6549"/>
        <pc:sldMkLst>
          <pc:docMk/>
          <pc:sldMk cId="2413391817" sldId="2141411566"/>
        </pc:sldMkLst>
        <pc:spChg chg="mod">
          <ac:chgData name="Kevin" userId="e60c6aad-8614-4884-8dc2-e8f78e5022b5" providerId="ADAL" clId="{C0B8B98D-D73E-4793-8C05-377D40232342}" dt="2023-06-01T18:44:37.626" v="1776" actId="6549"/>
          <ac:spMkLst>
            <pc:docMk/>
            <pc:sldMk cId="2413391817" sldId="2141411566"/>
            <ac:spMk id="3" creationId="{9EA6F890-192F-4495-95FE-E7EA7DADA00B}"/>
          </ac:spMkLst>
        </pc:spChg>
        <pc:picChg chg="add mod">
          <ac:chgData name="Kevin" userId="e60c6aad-8614-4884-8dc2-e8f78e5022b5" providerId="ADAL" clId="{C0B8B98D-D73E-4793-8C05-377D40232342}" dt="2023-06-01T18:40:45.736" v="1492" actId="1076"/>
          <ac:picMkLst>
            <pc:docMk/>
            <pc:sldMk cId="2413391817" sldId="2141411566"/>
            <ac:picMk id="5" creationId="{82EF73EA-EB39-433A-9650-5ADC33B9175E}"/>
          </ac:picMkLst>
        </pc:picChg>
        <pc:picChg chg="del">
          <ac:chgData name="Kevin" userId="e60c6aad-8614-4884-8dc2-e8f78e5022b5" providerId="ADAL" clId="{C0B8B98D-D73E-4793-8C05-377D40232342}" dt="2023-06-01T18:40:15.199" v="1487" actId="478"/>
          <ac:picMkLst>
            <pc:docMk/>
            <pc:sldMk cId="2413391817" sldId="2141411566"/>
            <ac:picMk id="6" creationId="{D912A527-C296-4E2D-B81C-0D60F2AD51FD}"/>
          </ac:picMkLst>
        </pc:picChg>
      </pc:sldChg>
      <pc:sldChg chg="addSp delSp modSp add mod">
        <pc:chgData name="Kevin" userId="e60c6aad-8614-4884-8dc2-e8f78e5022b5" providerId="ADAL" clId="{C0B8B98D-D73E-4793-8C05-377D40232342}" dt="2023-06-01T18:52:20.288" v="2052" actId="1076"/>
        <pc:sldMkLst>
          <pc:docMk/>
          <pc:sldMk cId="217982368" sldId="2141411567"/>
        </pc:sldMkLst>
        <pc:spChg chg="mod">
          <ac:chgData name="Kevin" userId="e60c6aad-8614-4884-8dc2-e8f78e5022b5" providerId="ADAL" clId="{C0B8B98D-D73E-4793-8C05-377D40232342}" dt="2023-06-01T18:51:14.223" v="2049" actId="14100"/>
          <ac:spMkLst>
            <pc:docMk/>
            <pc:sldMk cId="217982368" sldId="2141411567"/>
            <ac:spMk id="3" creationId="{9EA6F890-192F-4495-95FE-E7EA7DADA00B}"/>
          </ac:spMkLst>
        </pc:spChg>
        <pc:picChg chg="del">
          <ac:chgData name="Kevin" userId="e60c6aad-8614-4884-8dc2-e8f78e5022b5" providerId="ADAL" clId="{C0B8B98D-D73E-4793-8C05-377D40232342}" dt="2023-06-01T18:45:42.896" v="1778" actId="478"/>
          <ac:picMkLst>
            <pc:docMk/>
            <pc:sldMk cId="217982368" sldId="2141411567"/>
            <ac:picMk id="5" creationId="{82EF73EA-EB39-433A-9650-5ADC33B9175E}"/>
          </ac:picMkLst>
        </pc:picChg>
        <pc:picChg chg="add mod">
          <ac:chgData name="Kevin" userId="e60c6aad-8614-4884-8dc2-e8f78e5022b5" providerId="ADAL" clId="{C0B8B98D-D73E-4793-8C05-377D40232342}" dt="2023-06-01T18:52:20.288" v="2052" actId="1076"/>
          <ac:picMkLst>
            <pc:docMk/>
            <pc:sldMk cId="217982368" sldId="2141411567"/>
            <ac:picMk id="6" creationId="{3A6A709F-6FA7-42E6-A175-872C195323B8}"/>
          </ac:picMkLst>
        </pc:picChg>
      </pc:sldChg>
      <pc:sldChg chg="addSp delSp modSp add mod">
        <pc:chgData name="Kevin" userId="e60c6aad-8614-4884-8dc2-e8f78e5022b5" providerId="ADAL" clId="{C0B8B98D-D73E-4793-8C05-377D40232342}" dt="2023-06-01T18:56:53.232" v="2066" actId="1076"/>
        <pc:sldMkLst>
          <pc:docMk/>
          <pc:sldMk cId="23409199" sldId="2141411568"/>
        </pc:sldMkLst>
        <pc:spChg chg="del">
          <ac:chgData name="Kevin" userId="e60c6aad-8614-4884-8dc2-e8f78e5022b5" providerId="ADAL" clId="{C0B8B98D-D73E-4793-8C05-377D40232342}" dt="2023-06-01T18:56:29.031" v="2060" actId="478"/>
          <ac:spMkLst>
            <pc:docMk/>
            <pc:sldMk cId="23409199" sldId="2141411568"/>
            <ac:spMk id="3" creationId="{9EA6F890-192F-4495-95FE-E7EA7DADA00B}"/>
          </ac:spMkLst>
        </pc:spChg>
        <pc:spChg chg="add del mod">
          <ac:chgData name="Kevin" userId="e60c6aad-8614-4884-8dc2-e8f78e5022b5" providerId="ADAL" clId="{C0B8B98D-D73E-4793-8C05-377D40232342}" dt="2023-06-01T18:56:37.351" v="2062" actId="478"/>
          <ac:spMkLst>
            <pc:docMk/>
            <pc:sldMk cId="23409199" sldId="2141411568"/>
            <ac:spMk id="7" creationId="{A206102E-868F-4F2F-9D35-9062EB4CA222}"/>
          </ac:spMkLst>
        </pc:spChg>
        <pc:picChg chg="add mod">
          <ac:chgData name="Kevin" userId="e60c6aad-8614-4884-8dc2-e8f78e5022b5" providerId="ADAL" clId="{C0B8B98D-D73E-4793-8C05-377D40232342}" dt="2023-06-01T18:56:53.232" v="2066" actId="1076"/>
          <ac:picMkLst>
            <pc:docMk/>
            <pc:sldMk cId="23409199" sldId="2141411568"/>
            <ac:picMk id="5" creationId="{1017413E-9F90-4253-9BE1-BACD3E51B6C1}"/>
          </ac:picMkLst>
        </pc:picChg>
        <pc:picChg chg="del">
          <ac:chgData name="Kevin" userId="e60c6aad-8614-4884-8dc2-e8f78e5022b5" providerId="ADAL" clId="{C0B8B98D-D73E-4793-8C05-377D40232342}" dt="2023-06-01T18:55:17.504" v="2054" actId="478"/>
          <ac:picMkLst>
            <pc:docMk/>
            <pc:sldMk cId="23409199" sldId="2141411568"/>
            <ac:picMk id="6" creationId="{3A6A709F-6FA7-42E6-A175-872C195323B8}"/>
          </ac:picMkLst>
        </pc:picChg>
      </pc:sldChg>
      <pc:sldChg chg="modSp add mod">
        <pc:chgData name="Kevin" userId="e60c6aad-8614-4884-8dc2-e8f78e5022b5" providerId="ADAL" clId="{C0B8B98D-D73E-4793-8C05-377D40232342}" dt="2023-06-01T19:32:35.467" v="2459" actId="20577"/>
        <pc:sldMkLst>
          <pc:docMk/>
          <pc:sldMk cId="4179999447" sldId="2141411569"/>
        </pc:sldMkLst>
        <pc:spChg chg="mod">
          <ac:chgData name="Kevin" userId="e60c6aad-8614-4884-8dc2-e8f78e5022b5" providerId="ADAL" clId="{C0B8B98D-D73E-4793-8C05-377D40232342}" dt="2023-06-01T19:32:35.467" v="2459" actId="20577"/>
          <ac:spMkLst>
            <pc:docMk/>
            <pc:sldMk cId="4179999447" sldId="2141411569"/>
            <ac:spMk id="3" creationId="{9EA6F890-192F-4495-95FE-E7EA7DADA00B}"/>
          </ac:spMkLst>
        </pc:spChg>
        <pc:spChg chg="mod">
          <ac:chgData name="Kevin" userId="e60c6aad-8614-4884-8dc2-e8f78e5022b5" providerId="ADAL" clId="{C0B8B98D-D73E-4793-8C05-377D40232342}" dt="2023-06-01T19:00:46.369" v="2074"/>
          <ac:spMkLst>
            <pc:docMk/>
            <pc:sldMk cId="4179999447" sldId="2141411569"/>
            <ac:spMk id="4" creationId="{1CCD6C1B-3C18-4BBD-9056-72F40A1C644D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01/06/2023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01/06/2023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625529" cy="2481427"/>
          </a:xfrm>
        </p:spPr>
        <p:txBody>
          <a:bodyPr/>
          <a:lstStyle/>
          <a:p>
            <a:r>
              <a:rPr lang="en-GB" dirty="0"/>
              <a:t>Demand Side Working Group Update</a:t>
            </a:r>
            <a:br>
              <a:rPr lang="en-GB" dirty="0"/>
            </a:br>
            <a:r>
              <a:rPr lang="en-GB" dirty="0"/>
              <a:t>June 2023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477328"/>
          </a:xfrm>
        </p:spPr>
        <p:txBody>
          <a:bodyPr/>
          <a:lstStyle/>
          <a:p>
            <a:r>
              <a:rPr lang="en-GB" b="0" dirty="0"/>
              <a:t>June 7, 2023</a:t>
            </a:r>
          </a:p>
          <a:p>
            <a:endParaRPr lang="en-GB" b="0" dirty="0"/>
          </a:p>
          <a:p>
            <a:r>
              <a:rPr lang="en-GB" b="0" dirty="0"/>
              <a:t>Kevin Hanson (National Grid) 	Chair</a:t>
            </a:r>
          </a:p>
          <a:p>
            <a:r>
              <a:rPr lang="en-GB" b="0" dirty="0"/>
              <a:t>Mark Smith     (Steel Mills) 		Vice Chair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9593887" cy="4308872"/>
          </a:xfrm>
        </p:spPr>
        <p:txBody>
          <a:bodyPr/>
          <a:lstStyle/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DSWG Leadership Elections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	Chair  		Kevin Hanson (National Grid)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	Vice Chair  	Mark Smith (Steel Mills)</a:t>
            </a:r>
            <a:endParaRPr lang="en-US" sz="1600" b="0" i="0" dirty="0">
              <a:solidFill>
                <a:srgbClr val="212529"/>
              </a:solidFill>
              <a:effectLst/>
              <a:latin typeface="Roboto" panose="02000000000000000000" pitchFamily="2" charset="0"/>
            </a:endParaRP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2022 Goal Review and 2023 Goals/Action Items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	Discussed with additional suggestion</a:t>
            </a: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	Next </a:t>
            </a: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meeting will present items and identify “champions” for each item</a:t>
            </a:r>
            <a:endParaRPr lang="en-US" sz="1600" b="0" i="0" dirty="0">
              <a:solidFill>
                <a:srgbClr val="212529"/>
              </a:solidFill>
              <a:effectLst/>
              <a:latin typeface="Roboto" panose="02000000000000000000" pitchFamily="2" charset="0"/>
            </a:endParaRP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ERS Procurement Summary for AprMay23 (</a:t>
            </a:r>
            <a:r>
              <a:rPr lang="en-US" sz="1600" b="0" i="0" dirty="0" err="1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Anjie</a:t>
            </a:r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 Winker)</a:t>
            </a: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Load Participation Update for DSWG (Donald House)</a:t>
            </a: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ECRS Go-Live Update (Donald House)</a:t>
            </a: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Reinstating ERS Suspensions (Mark Patterson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2" y="1424518"/>
            <a:ext cx="10503013" cy="3036729"/>
          </a:xfrm>
        </p:spPr>
        <p:txBody>
          <a:bodyPr/>
          <a:lstStyle/>
          <a:p>
            <a:r>
              <a:rPr lang="en-US" dirty="0"/>
              <a:t>Not all of the bids cleared which resulted in savings of ~$2.26 million</a:t>
            </a:r>
          </a:p>
          <a:p>
            <a:r>
              <a:rPr lang="en-US" dirty="0"/>
              <a:t>ERCOT staff will put together a summary of historical auctions and percentage of procuremen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ERS Procurement Summary for AprMay2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F6C23E-3FA3-44B6-A269-D729E6F683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6580" y="3257841"/>
            <a:ext cx="9978733" cy="2175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58078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Load Participation Update for DSW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71DA86-4F8E-4927-87EB-4D0833F99A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685" y="1394674"/>
            <a:ext cx="6469854" cy="428937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00F3B3C-D786-4B10-AA24-9DE5F6FECF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39057" y="1394674"/>
            <a:ext cx="4567295" cy="5252720"/>
          </a:xfrm>
        </p:spPr>
        <p:txBody>
          <a:bodyPr/>
          <a:lstStyle/>
          <a:p>
            <a:r>
              <a:rPr lang="en-US" dirty="0"/>
              <a:t>Most significant issue to date has been understanding how deployed MW value is calculated</a:t>
            </a:r>
          </a:p>
          <a:p>
            <a:r>
              <a:rPr lang="en-US" dirty="0"/>
              <a:t>Deployed and recalled using XLM only – no verbal instructions</a:t>
            </a:r>
          </a:p>
          <a:p>
            <a:r>
              <a:rPr lang="en-US" dirty="0"/>
              <a:t>Need to also be aware that relay cannot be armed</a:t>
            </a:r>
          </a:p>
          <a:p>
            <a:r>
              <a:rPr lang="en-US" dirty="0"/>
              <a:t>Need to remain deployed until recalle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20532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1317" y="1172269"/>
            <a:ext cx="3605599" cy="5047536"/>
          </a:xfrm>
        </p:spPr>
        <p:txBody>
          <a:bodyPr/>
          <a:lstStyle/>
          <a:p>
            <a:r>
              <a:rPr lang="en-US" sz="1800" dirty="0"/>
              <a:t>ECRS Go-Live is June 6-8 with first Operating Day (OD) planned for June 10</a:t>
            </a:r>
            <a:r>
              <a:rPr lang="en-US" sz="1800" baseline="30000" dirty="0"/>
              <a:t>th</a:t>
            </a:r>
            <a:r>
              <a:rPr lang="en-US" sz="1800" dirty="0"/>
              <a:t>, 2023</a:t>
            </a:r>
          </a:p>
          <a:p>
            <a:r>
              <a:rPr lang="en-US" sz="1800" dirty="0"/>
              <a:t>For ECRS QSE qualification, TELEMETRY/ICCP is most important next step</a:t>
            </a:r>
          </a:p>
          <a:p>
            <a:r>
              <a:rPr lang="en-US" sz="1800" dirty="0"/>
              <a:t>After go-live, priority will be given to qualification testing for the QSEs that requested provisional qualifications prior to go-live</a:t>
            </a:r>
          </a:p>
          <a:p>
            <a:r>
              <a:rPr lang="en-US" sz="1800" dirty="0"/>
              <a:t>ERCOT expects to test each QSE and at least one of their LRs to confirm telemetry and response meets Protocol and Operating Guide requirements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ECRS Go-Live Up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10EE10-803C-4CEE-A146-6CE24C737F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3687" y="1020271"/>
            <a:ext cx="6803761" cy="5017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8083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Reinstating ERS Suspensions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EA42C0-A68C-4B38-ADBD-A7AA269261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9353" y="959656"/>
            <a:ext cx="7375809" cy="554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8264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1578</TotalTime>
  <Words>278</Words>
  <Application>Microsoft Office PowerPoint</Application>
  <PresentationFormat>Widescreen</PresentationFormat>
  <Paragraphs>31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Demand Side Working Group Update June 2023 Update to WMS  </vt:lpstr>
      <vt:lpstr>Overview</vt:lpstr>
      <vt:lpstr>ERS Procurement Summary for AprMay23</vt:lpstr>
      <vt:lpstr>Load Participation Update for DSWG</vt:lpstr>
      <vt:lpstr>ECRS Go-Live Update</vt:lpstr>
      <vt:lpstr>Reinstating ERS Suspensions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Kevin</cp:lastModifiedBy>
  <cp:revision>5</cp:revision>
  <cp:lastPrinted>2018-08-10T07:16:05Z</cp:lastPrinted>
  <dcterms:created xsi:type="dcterms:W3CDTF">2021-05-20T11:21:33Z</dcterms:created>
  <dcterms:modified xsi:type="dcterms:W3CDTF">2023-06-01T20:2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</Properties>
</file>